
<file path=[Content_Types].xml><?xml version="1.0" encoding="utf-8"?>
<Types xmlns="http://schemas.openxmlformats.org/package/2006/content-types">
  <Default Extension="mp4" ContentType="video/mp4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theme/theme2.xml" ContentType="application/vnd.openxmlformats-officedocument.theme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03" r:id="rId1"/>
    <p:sldMasterId id="2147483715" r:id="rId2"/>
    <p:sldMasterId id="2147483734" r:id="rId3"/>
  </p:sldMasterIdLst>
  <p:notesMasterIdLst>
    <p:notesMasterId r:id="rId13"/>
  </p:notesMasterIdLst>
  <p:handoutMasterIdLst>
    <p:handoutMasterId r:id="rId14"/>
  </p:handoutMasterIdLst>
  <p:sldIdLst>
    <p:sldId id="479" r:id="rId4"/>
    <p:sldId id="483" r:id="rId5"/>
    <p:sldId id="467" r:id="rId6"/>
    <p:sldId id="468" r:id="rId7"/>
    <p:sldId id="484" r:id="rId8"/>
    <p:sldId id="485" r:id="rId9"/>
    <p:sldId id="481" r:id="rId10"/>
    <p:sldId id="482" r:id="rId11"/>
    <p:sldId id="480" r:id="rId1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lides" id="{6BD27C0A-5760-9446-A4E7-7C8ACB101806}">
          <p14:sldIdLst>
            <p14:sldId id="479"/>
            <p14:sldId id="483"/>
            <p14:sldId id="467"/>
            <p14:sldId id="468"/>
            <p14:sldId id="484"/>
            <p14:sldId id="485"/>
            <p14:sldId id="481"/>
            <p14:sldId id="482"/>
            <p14:sldId id="480"/>
          </p14:sldIdLst>
        </p14:section>
        <p14:section name="Icons, Device" id="{750AA6BF-6CFE-194D-B78B-874B0A81443E}">
          <p14:sldIdLst/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aulo Moraes" initials="PM" lastIdx="1" clrIdx="0">
    <p:extLst>
      <p:ext uri="{19B8F6BF-5375-455C-9EA6-DF929625EA0E}">
        <p15:presenceInfo xmlns:p15="http://schemas.microsoft.com/office/powerpoint/2012/main" userId="391b7fceab94916a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9B31D"/>
    <a:srgbClr val="331D37"/>
    <a:srgbClr val="ADADAD"/>
    <a:srgbClr val="CBCBCB"/>
    <a:srgbClr val="F4F4F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E9639D4-E3E2-4D34-9284-5A2195B3D0D7}" styleName="Estilo Claro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85BE263C-DBD7-4A20-BB59-AAB30ACAA65A}" styleName="Estilo Médio 3 - Ênfas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940675A-B579-460E-94D1-54222C63F5DA}" styleName="Nenhum Estilo, Grade de Tabela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Estilo Médio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Estilo Médio 2 - Ênfas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Estilo Médio 2 - Ênfase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Estilo Médio 2 - Ênfase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69CF1AB2-1976-4502-BF36-3FF5EA218861}" styleName="Estilo Médio 4 - Ênfas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52" autoAdjust="0"/>
    <p:restoredTop sz="94660"/>
  </p:normalViewPr>
  <p:slideViewPr>
    <p:cSldViewPr snapToGrid="0">
      <p:cViewPr varScale="1">
        <p:scale>
          <a:sx n="120" d="100"/>
          <a:sy n="120" d="100"/>
        </p:scale>
        <p:origin x="1704" y="96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>
      <p:cViewPr>
        <p:scale>
          <a:sx n="1" d="2"/>
          <a:sy n="1" d="2"/>
        </p:scale>
        <p:origin x="2676" y="32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commentAuthors" Target="commentAuthors.xml"/><Relationship Id="rId10" Type="http://schemas.openxmlformats.org/officeDocument/2006/relationships/slide" Target="slides/slide7.xml"/><Relationship Id="rId19" Type="http://schemas.openxmlformats.org/officeDocument/2006/relationships/tableStyles" Target="tableStyle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8BBCDA1-AA07-1949-9C03-FB65D5F47768}" type="datetimeFigureOut">
              <a:rPr lang="en-US" smtClean="0"/>
              <a:t>5/28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DF0CF1F-806C-1040-85B6-702212066E2B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73929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A701D69-039A-E040-AD3A-A2E8E9DEE428}" type="datetimeFigureOut">
              <a:rPr lang="en-US" smtClean="0"/>
              <a:t>5/28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E9DAD11-EA5A-8844-AD2D-546F429C7A04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487235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7.png"/><Relationship Id="rId4" Type="http://schemas.openxmlformats.org/officeDocument/2006/relationships/image" Target="../media/image2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FD4ADE6-3CFC-404B-BB4A-0DECDDBB8F5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B7C12939-9C8C-4F2E-A069-0DC2C5E3510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B083E4B6-DCD2-47FA-B69F-EEC50765D9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3A656C-BD5A-450D-8E27-5AFFED385077}" type="datetimeFigureOut">
              <a:rPr lang="pt-BR" smtClean="0"/>
              <a:t>28/05/2020</a:t>
            </a:fld>
            <a:endParaRPr lang="pt-BR" dirty="0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17B9F614-3E1A-497B-84D9-6615D960A7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D0F88466-798B-45FB-B804-1F86038185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E774B9-B12C-4857-9133-C2FE22381242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73892262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DF16A29-AD7A-4051-A46C-0D892AECAF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398A8B43-290A-4E3C-BE7A-4EDF61A20E9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A01C96A4-92D2-4FE1-BBDB-E624783081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3A656C-BD5A-450D-8E27-5AFFED385077}" type="datetimeFigureOut">
              <a:rPr lang="pt-BR" smtClean="0"/>
              <a:t>28/05/2020</a:t>
            </a:fld>
            <a:endParaRPr lang="pt-BR" dirty="0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39B80F68-85B9-4E04-90DB-B750F57A43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2018F1CF-14D9-4858-A1DE-9CEA9DA280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E774B9-B12C-4857-9133-C2FE22381242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64324844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49E746B1-641A-43E5-9EFC-66D4FF048D7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8BDBD2B5-1D64-421E-A48C-BEFA2EA9C63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ECF1A34A-9B7A-4DFE-802E-2B73A86235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3A656C-BD5A-450D-8E27-5AFFED385077}" type="datetimeFigureOut">
              <a:rPr lang="pt-BR" smtClean="0"/>
              <a:t>28/05/2020</a:t>
            </a:fld>
            <a:endParaRPr lang="pt-BR" dirty="0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065D79A1-5A79-4415-B5E7-30AEBDA086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257A1F8F-D0DD-4FB0-8906-5455750D6F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E774B9-B12C-4857-9133-C2FE22381242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03881019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32" name="Straight Connector 31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Isosceles Triangle 26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0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1" name="Isosceles Triangle 30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Isosceles Triangle 18"/>
            <p:cNvSpPr/>
            <p:nvPr/>
          </p:nvSpPr>
          <p:spPr>
            <a:xfrm rot="10800000">
              <a:off x="0" y="0"/>
              <a:ext cx="842596" cy="5666154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07067" y="2404534"/>
            <a:ext cx="7766936" cy="1646302"/>
          </a:xfrm>
          <a:prstGeom prst="rect">
            <a:avLst/>
          </a:prstGeom>
        </p:spPr>
        <p:txBody>
          <a:bodyPr anchor="b">
            <a:noAutofit/>
          </a:bodyPr>
          <a:lstStyle>
            <a:lvl1pPr algn="r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07067" y="4050833"/>
            <a:ext cx="7766936" cy="1096899"/>
          </a:xfrm>
        </p:spPr>
        <p:txBody>
          <a:bodyPr anchor="t"/>
          <a:lstStyle>
            <a:lvl1pPr marL="0" indent="0" algn="r"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/>
              <a:t>Clique para editar o estilo do subtítulo Mestr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5/28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775394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5/28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436629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2700867"/>
            <a:ext cx="8596668" cy="1826581"/>
          </a:xfrm>
          <a:prstGeom prst="rect">
            <a:avLst/>
          </a:prstGeo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860400"/>
          </a:xfrm>
        </p:spPr>
        <p:txBody>
          <a:bodyPr anchor="t"/>
          <a:lstStyle>
            <a:lvl1pPr marL="0" indent="0" algn="l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5/28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350715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77334" y="2160589"/>
            <a:ext cx="4184035" cy="3880772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9970" y="2160589"/>
            <a:ext cx="4184034" cy="3880773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712588-04B1-427B-82EE-E8DB90309F08}" type="datetimeFigureOut">
              <a:rPr lang="en-US" dirty="0"/>
              <a:t>5/28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F9F0C5-380F-41C2-899A-BAC0F0927E16}" type="slidenum">
              <a:rPr lang="en-US" dirty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094678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745" y="2160983"/>
            <a:ext cx="418562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75745" y="2737245"/>
            <a:ext cx="4185623" cy="3304117"/>
          </a:xfrm>
        </p:spPr>
        <p:txBody>
          <a:bodyPr>
            <a:normAutofit/>
          </a:bodyPr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88383" y="2160983"/>
            <a:ext cx="418561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88384" y="2737245"/>
            <a:ext cx="4185617" cy="3304117"/>
          </a:xfrm>
        </p:spPr>
        <p:txBody>
          <a:bodyPr>
            <a:normAutofit/>
          </a:bodyPr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5/28/2020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637425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5/28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937225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9167315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1498604"/>
            <a:ext cx="3854528" cy="1278466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0461" y="514924"/>
            <a:ext cx="4513541" cy="5526437"/>
          </a:xfrm>
        </p:spPr>
        <p:txBody>
          <a:bodyPr>
            <a:normAutofit/>
          </a:bodyPr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334" y="2777069"/>
            <a:ext cx="3854528" cy="2584449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063" indent="0">
              <a:buNone/>
              <a:defRPr sz="1400"/>
            </a:lvl2pPr>
            <a:lvl3pPr marL="914126" indent="0">
              <a:buNone/>
              <a:defRPr sz="1200"/>
            </a:lvl3pPr>
            <a:lvl4pPr marL="1371189" indent="0">
              <a:buNone/>
              <a:defRPr sz="1000"/>
            </a:lvl4pPr>
            <a:lvl5pPr marL="1828251" indent="0">
              <a:buNone/>
              <a:defRPr sz="1000"/>
            </a:lvl5pPr>
            <a:lvl6pPr marL="2285314" indent="0">
              <a:buNone/>
              <a:defRPr sz="1000"/>
            </a:lvl6pPr>
            <a:lvl7pPr marL="2742377" indent="0">
              <a:buNone/>
              <a:defRPr sz="1000"/>
            </a:lvl7pPr>
            <a:lvl8pPr marL="3199440" indent="0">
              <a:buNone/>
              <a:defRPr sz="1000"/>
            </a:lvl8pPr>
            <a:lvl9pPr marL="3656503" indent="0">
              <a:buNone/>
              <a:defRPr sz="1000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A54C80-263E-416B-A8E0-580EDEADCBDC}" type="datetimeFigureOut">
              <a:rPr lang="en-US" dirty="0"/>
              <a:t>5/28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9954A3-9DFD-4C44-94BA-B95130A3BA1C}" type="slidenum">
              <a:rPr lang="en-US" dirty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80502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6F807CD-E2EE-4FB7-A6B5-54968F7186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C83E91FC-8AC6-4926-9A7F-0F53050599C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299E88EB-6D0E-4FB5-8C56-C8F124951B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3A656C-BD5A-450D-8E27-5AFFED385077}" type="datetimeFigureOut">
              <a:rPr lang="pt-BR" smtClean="0"/>
              <a:t>28/05/2020</a:t>
            </a:fld>
            <a:endParaRPr lang="pt-BR" dirty="0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E576240F-71CC-4CA1-ADB4-B58D431314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33868542-9B8A-4B0C-980F-64D3ED2781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E774B9-B12C-4857-9133-C2FE22381242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97945235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4800600"/>
            <a:ext cx="8596667" cy="566738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77334" y="609600"/>
            <a:ext cx="8596668" cy="3845718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pt-BR" dirty="0"/>
              <a:t>Clique no ícone para adicionar uma imagem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334" y="5367338"/>
            <a:ext cx="8596667" cy="674024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5/28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86223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ítulo e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609600"/>
            <a:ext cx="8596668" cy="340360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470400"/>
            <a:ext cx="8596668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5/28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651600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itaçã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334" y="609600"/>
            <a:ext cx="8094134" cy="302260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366139" y="3632200"/>
            <a:ext cx="7224524" cy="3810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470400"/>
            <a:ext cx="8596668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5/28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nº›</a:t>
            </a:fld>
            <a:endParaRPr lang="en-US" dirty="0"/>
          </a:p>
        </p:txBody>
      </p:sp>
      <p:sp>
        <p:nvSpPr>
          <p:cNvPr id="20" name="TextBox 19"/>
          <p:cNvSpPr txBox="1"/>
          <p:nvPr/>
        </p:nvSpPr>
        <p:spPr>
          <a:xfrm>
            <a:off x="541870" y="7903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8893011" y="288655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latin typeface="Arial"/>
              </a:rPr>
              <a:t>”</a:t>
            </a:r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0251025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rtão de No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1931988"/>
            <a:ext cx="8596668" cy="2595460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4400" b="0" cap="none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5/28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280418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itar o Cartão de No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334" y="609600"/>
            <a:ext cx="8094134" cy="302260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77332" y="4013200"/>
            <a:ext cx="8596669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5/28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nº›</a:t>
            </a:fld>
            <a:endParaRPr lang="en-US" dirty="0"/>
          </a:p>
        </p:txBody>
      </p:sp>
      <p:sp>
        <p:nvSpPr>
          <p:cNvPr id="24" name="TextBox 23"/>
          <p:cNvSpPr txBox="1"/>
          <p:nvPr/>
        </p:nvSpPr>
        <p:spPr>
          <a:xfrm>
            <a:off x="541870" y="7903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8893011" y="288655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132649416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erdadeiro ou Fal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799" y="609600"/>
            <a:ext cx="8588203" cy="302260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77332" y="4013200"/>
            <a:ext cx="8596669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5/28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814437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C6B4A9-1611-4792-9094-5F34BCA07E0B}" type="datetimeFigureOut">
              <a:rPr lang="en-US" dirty="0"/>
              <a:t>5/28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333C77-0158-454C-844F-B7AB9BD7DAD4}" type="slidenum">
              <a:rPr lang="en-US" dirty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458212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967673" y="609599"/>
            <a:ext cx="1304743" cy="5251451"/>
          </a:xfrm>
          <a:prstGeom prst="rect">
            <a:avLst/>
          </a:prstGeom>
        </p:spPr>
        <p:txBody>
          <a:bodyPr vert="eaVert" anchor="ctr"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77335" y="609600"/>
            <a:ext cx="7060150" cy="5251450"/>
          </a:xfrm>
        </p:spPr>
        <p:txBody>
          <a:bodyPr vert="eaVert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5/28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795315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</p:spTree>
    <p:extLst>
      <p:ext uri="{BB962C8B-B14F-4D97-AF65-F5344CB8AC3E}">
        <p14:creationId xmlns:p14="http://schemas.microsoft.com/office/powerpoint/2010/main" val="3089620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432">
          <p15:clr>
            <a:srgbClr val="FBAE40"/>
          </p15:clr>
        </p15:guide>
        <p15:guide id="3" pos="7248">
          <p15:clr>
            <a:srgbClr val="FBAE40"/>
          </p15:clr>
        </p15:guide>
        <p15:guide id="4" orient="horz" pos="432">
          <p15:clr>
            <a:srgbClr val="FBAE40"/>
          </p15:clr>
        </p15:guide>
        <p15:guide id="5" orient="horz" pos="3888">
          <p15:clr>
            <a:srgbClr val="FBAE40"/>
          </p15:clr>
        </p15:guide>
        <p15:guide id="6" pos="3840">
          <p15:clr>
            <a:srgbClr val="FBAE40"/>
          </p15:clr>
        </p15:guide>
        <p15:guide id="7" pos="1128">
          <p15:clr>
            <a:srgbClr val="FBAE40"/>
          </p15:clr>
        </p15:guide>
        <p15:guide id="8" pos="6552">
          <p15:clr>
            <a:srgbClr val="FBAE40"/>
          </p15:clr>
        </p15:guide>
        <p15:guide id="9" orient="horz" pos="1944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518589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432">
          <p15:clr>
            <a:srgbClr val="FBAE40"/>
          </p15:clr>
        </p15:guide>
        <p15:guide id="3" pos="7248">
          <p15:clr>
            <a:srgbClr val="FBAE40"/>
          </p15:clr>
        </p15:guide>
        <p15:guide id="4" orient="horz" pos="432">
          <p15:clr>
            <a:srgbClr val="FBAE40"/>
          </p15:clr>
        </p15:guide>
        <p15:guide id="5" orient="horz" pos="3888">
          <p15:clr>
            <a:srgbClr val="FBAE40"/>
          </p15:clr>
        </p15:guide>
        <p15:guide id="6" pos="3840">
          <p15:clr>
            <a:srgbClr val="FBAE40"/>
          </p15:clr>
        </p15:guide>
        <p15:guide id="7" pos="1128">
          <p15:clr>
            <a:srgbClr val="FBAE40"/>
          </p15:clr>
        </p15:guide>
        <p15:guide id="8" pos="6552">
          <p15:clr>
            <a:srgbClr val="FBAE40"/>
          </p15:clr>
        </p15:guide>
        <p15:guide id="9" orient="horz" pos="1944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1EC36EE-2D3E-4EDE-995F-C8F7221271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DACFBC98-BCED-4220-8B0A-01FC7ED43A8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4082C708-86F4-4ED7-92A7-BDD28BD094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3A656C-BD5A-450D-8E27-5AFFED385077}" type="datetimeFigureOut">
              <a:rPr lang="pt-BR" smtClean="0"/>
              <a:t>28/05/2020</a:t>
            </a:fld>
            <a:endParaRPr lang="pt-BR" dirty="0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CB641D39-07FF-4993-B53F-B9B6C113E9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32A07F84-5C45-41AD-BBFD-5E327AF17F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E774B9-B12C-4857-9133-C2FE22381242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27396923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2" hasCustomPrompt="1"/>
          </p:nvPr>
        </p:nvSpPr>
        <p:spPr>
          <a:xfrm>
            <a:off x="1819552" y="1"/>
            <a:ext cx="6250905" cy="6857999"/>
          </a:xfrm>
          <a:custGeom>
            <a:avLst/>
            <a:gdLst>
              <a:gd name="connsiteX0" fmla="*/ 1383736 w 6250905"/>
              <a:gd name="connsiteY0" fmla="*/ 2536370 h 6857999"/>
              <a:gd name="connsiteX1" fmla="*/ 1678670 w 6250905"/>
              <a:gd name="connsiteY1" fmla="*/ 2536370 h 6857999"/>
              <a:gd name="connsiteX2" fmla="*/ 1678670 w 6250905"/>
              <a:gd name="connsiteY2" fmla="*/ 6857999 h 6857999"/>
              <a:gd name="connsiteX3" fmla="*/ 1383736 w 6250905"/>
              <a:gd name="connsiteY3" fmla="*/ 6857999 h 6857999"/>
              <a:gd name="connsiteX4" fmla="*/ 4262533 w 6250905"/>
              <a:gd name="connsiteY4" fmla="*/ 1256023 h 6857999"/>
              <a:gd name="connsiteX5" fmla="*/ 3967829 w 6250905"/>
              <a:gd name="connsiteY5" fmla="*/ 1752809 h 6857999"/>
              <a:gd name="connsiteX6" fmla="*/ 4262533 w 6250905"/>
              <a:gd name="connsiteY6" fmla="*/ 2232754 h 6857999"/>
              <a:gd name="connsiteX7" fmla="*/ 4557236 w 6250905"/>
              <a:gd name="connsiteY7" fmla="*/ 1752809 h 6857999"/>
              <a:gd name="connsiteX8" fmla="*/ 4262533 w 6250905"/>
              <a:gd name="connsiteY8" fmla="*/ 1256023 h 6857999"/>
              <a:gd name="connsiteX9" fmla="*/ 5103667 w 6250905"/>
              <a:gd name="connsiteY9" fmla="*/ 1028680 h 6857999"/>
              <a:gd name="connsiteX10" fmla="*/ 5594137 w 6250905"/>
              <a:gd name="connsiteY10" fmla="*/ 1028680 h 6857999"/>
              <a:gd name="connsiteX11" fmla="*/ 5939362 w 6250905"/>
              <a:gd name="connsiteY11" fmla="*/ 2207494 h 6857999"/>
              <a:gd name="connsiteX12" fmla="*/ 5960412 w 6250905"/>
              <a:gd name="connsiteY12" fmla="*/ 2207494 h 6857999"/>
              <a:gd name="connsiteX13" fmla="*/ 5960412 w 6250905"/>
              <a:gd name="connsiteY13" fmla="*/ 1028680 h 6857999"/>
              <a:gd name="connsiteX14" fmla="*/ 6250905 w 6250905"/>
              <a:gd name="connsiteY14" fmla="*/ 1028680 h 6857999"/>
              <a:gd name="connsiteX15" fmla="*/ 6250905 w 6250905"/>
              <a:gd name="connsiteY15" fmla="*/ 2460097 h 6857999"/>
              <a:gd name="connsiteX16" fmla="*/ 5773065 w 6250905"/>
              <a:gd name="connsiteY16" fmla="*/ 2460097 h 6857999"/>
              <a:gd name="connsiteX17" fmla="*/ 5415211 w 6250905"/>
              <a:gd name="connsiteY17" fmla="*/ 1281283 h 6857999"/>
              <a:gd name="connsiteX18" fmla="*/ 5394160 w 6250905"/>
              <a:gd name="connsiteY18" fmla="*/ 1281283 h 6857999"/>
              <a:gd name="connsiteX19" fmla="*/ 5394160 w 6250905"/>
              <a:gd name="connsiteY19" fmla="*/ 2460097 h 6857999"/>
              <a:gd name="connsiteX20" fmla="*/ 5103667 w 6250905"/>
              <a:gd name="connsiteY20" fmla="*/ 2460097 h 6857999"/>
              <a:gd name="connsiteX21" fmla="*/ 3131991 w 6250905"/>
              <a:gd name="connsiteY21" fmla="*/ 1028680 h 6857999"/>
              <a:gd name="connsiteX22" fmla="*/ 3422485 w 6250905"/>
              <a:gd name="connsiteY22" fmla="*/ 1028680 h 6857999"/>
              <a:gd name="connsiteX23" fmla="*/ 3422485 w 6250905"/>
              <a:gd name="connsiteY23" fmla="*/ 2460097 h 6857999"/>
              <a:gd name="connsiteX24" fmla="*/ 3131991 w 6250905"/>
              <a:gd name="connsiteY24" fmla="*/ 2460097 h 6857999"/>
              <a:gd name="connsiteX25" fmla="*/ 1388917 w 6250905"/>
              <a:gd name="connsiteY25" fmla="*/ 1028680 h 6857999"/>
              <a:gd name="connsiteX26" fmla="*/ 1679410 w 6250905"/>
              <a:gd name="connsiteY26" fmla="*/ 1028680 h 6857999"/>
              <a:gd name="connsiteX27" fmla="*/ 1679410 w 6250905"/>
              <a:gd name="connsiteY27" fmla="*/ 2460097 h 6857999"/>
              <a:gd name="connsiteX28" fmla="*/ 1388917 w 6250905"/>
              <a:gd name="connsiteY28" fmla="*/ 2460097 h 6857999"/>
              <a:gd name="connsiteX29" fmla="*/ 0 w 6250905"/>
              <a:gd name="connsiteY29" fmla="*/ 1028680 h 6857999"/>
              <a:gd name="connsiteX30" fmla="*/ 305228 w 6250905"/>
              <a:gd name="connsiteY30" fmla="*/ 1028680 h 6857999"/>
              <a:gd name="connsiteX31" fmla="*/ 553621 w 6250905"/>
              <a:gd name="connsiteY31" fmla="*/ 2207494 h 6857999"/>
              <a:gd name="connsiteX32" fmla="*/ 648348 w 6250905"/>
              <a:gd name="connsiteY32" fmla="*/ 2207494 h 6857999"/>
              <a:gd name="connsiteX33" fmla="*/ 896740 w 6250905"/>
              <a:gd name="connsiteY33" fmla="*/ 1028680 h 6857999"/>
              <a:gd name="connsiteX34" fmla="*/ 1201969 w 6250905"/>
              <a:gd name="connsiteY34" fmla="*/ 1028680 h 6857999"/>
              <a:gd name="connsiteX35" fmla="*/ 869375 w 6250905"/>
              <a:gd name="connsiteY35" fmla="*/ 2460097 h 6857999"/>
              <a:gd name="connsiteX36" fmla="*/ 332594 w 6250905"/>
              <a:gd name="connsiteY36" fmla="*/ 2460097 h 6857999"/>
              <a:gd name="connsiteX37" fmla="*/ 4262533 w 6250905"/>
              <a:gd name="connsiteY37" fmla="*/ 1003420 h 6857999"/>
              <a:gd name="connsiteX38" fmla="*/ 4856150 w 6250905"/>
              <a:gd name="connsiteY38" fmla="*/ 1752809 h 6857999"/>
              <a:gd name="connsiteX39" fmla="*/ 4262533 w 6250905"/>
              <a:gd name="connsiteY39" fmla="*/ 2485357 h 6857999"/>
              <a:gd name="connsiteX40" fmla="*/ 3668916 w 6250905"/>
              <a:gd name="connsiteY40" fmla="*/ 1752809 h 6857999"/>
              <a:gd name="connsiteX41" fmla="*/ 4262533 w 6250905"/>
              <a:gd name="connsiteY41" fmla="*/ 1003420 h 6857999"/>
              <a:gd name="connsiteX42" fmla="*/ 2399472 w 6250905"/>
              <a:gd name="connsiteY42" fmla="*/ 1003420 h 6857999"/>
              <a:gd name="connsiteX43" fmla="*/ 2870997 w 6250905"/>
              <a:gd name="connsiteY43" fmla="*/ 1060255 h 6857999"/>
              <a:gd name="connsiteX44" fmla="*/ 2847842 w 6250905"/>
              <a:gd name="connsiteY44" fmla="*/ 1289703 h 6857999"/>
              <a:gd name="connsiteX45" fmla="*/ 2428942 w 6250905"/>
              <a:gd name="connsiteY45" fmla="*/ 1256023 h 6857999"/>
              <a:gd name="connsiteX46" fmla="*/ 2199494 w 6250905"/>
              <a:gd name="connsiteY46" fmla="*/ 1407585 h 6857999"/>
              <a:gd name="connsiteX47" fmla="*/ 2496302 w 6250905"/>
              <a:gd name="connsiteY47" fmla="*/ 1605457 h 6857999"/>
              <a:gd name="connsiteX48" fmla="*/ 2900467 w 6250905"/>
              <a:gd name="connsiteY48" fmla="*/ 2028567 h 6857999"/>
              <a:gd name="connsiteX49" fmla="*/ 2405786 w 6250905"/>
              <a:gd name="connsiteY49" fmla="*/ 2485357 h 6857999"/>
              <a:gd name="connsiteX50" fmla="*/ 1927946 w 6250905"/>
              <a:gd name="connsiteY50" fmla="*/ 2420101 h 6857999"/>
              <a:gd name="connsiteX51" fmla="*/ 1957416 w 6250905"/>
              <a:gd name="connsiteY51" fmla="*/ 2194864 h 6857999"/>
              <a:gd name="connsiteX52" fmla="*/ 2388946 w 6250905"/>
              <a:gd name="connsiteY52" fmla="*/ 2232754 h 6857999"/>
              <a:gd name="connsiteX53" fmla="*/ 2612079 w 6250905"/>
              <a:gd name="connsiteY53" fmla="*/ 2047512 h 6857999"/>
              <a:gd name="connsiteX54" fmla="*/ 2355266 w 6250905"/>
              <a:gd name="connsiteY54" fmla="*/ 1860165 h 6857999"/>
              <a:gd name="connsiteX55" fmla="*/ 1911106 w 6250905"/>
              <a:gd name="connsiteY55" fmla="*/ 1428635 h 6857999"/>
              <a:gd name="connsiteX56" fmla="*/ 2399472 w 6250905"/>
              <a:gd name="connsiteY56" fmla="*/ 1003420 h 6857999"/>
              <a:gd name="connsiteX57" fmla="*/ 3123597 w 6250905"/>
              <a:gd name="connsiteY57" fmla="*/ 0 h 6857999"/>
              <a:gd name="connsiteX58" fmla="*/ 3418531 w 6250905"/>
              <a:gd name="connsiteY58" fmla="*/ 0 h 6857999"/>
              <a:gd name="connsiteX59" fmla="*/ 3418531 w 6250905"/>
              <a:gd name="connsiteY59" fmla="*/ 945622 h 6857999"/>
              <a:gd name="connsiteX60" fmla="*/ 3123597 w 6250905"/>
              <a:gd name="connsiteY60" fmla="*/ 945622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</a:cxnLst>
            <a:rect l="l" t="t" r="r" b="b"/>
            <a:pathLst>
              <a:path w="6250905" h="6857999">
                <a:moveTo>
                  <a:pt x="1383736" y="2536370"/>
                </a:moveTo>
                <a:lnTo>
                  <a:pt x="1678670" y="2536370"/>
                </a:lnTo>
                <a:lnTo>
                  <a:pt x="1678670" y="6857999"/>
                </a:lnTo>
                <a:lnTo>
                  <a:pt x="1383736" y="6857999"/>
                </a:lnTo>
                <a:close/>
                <a:moveTo>
                  <a:pt x="4262533" y="1256023"/>
                </a:moveTo>
                <a:cubicBezTo>
                  <a:pt x="4026770" y="1256023"/>
                  <a:pt x="3967829" y="1422320"/>
                  <a:pt x="3967829" y="1752809"/>
                </a:cubicBezTo>
                <a:cubicBezTo>
                  <a:pt x="3967829" y="2083298"/>
                  <a:pt x="4026770" y="2232754"/>
                  <a:pt x="4262533" y="2232754"/>
                </a:cubicBezTo>
                <a:cubicBezTo>
                  <a:pt x="4498296" y="2232754"/>
                  <a:pt x="4557236" y="2083298"/>
                  <a:pt x="4557236" y="1752809"/>
                </a:cubicBezTo>
                <a:cubicBezTo>
                  <a:pt x="4557236" y="1422320"/>
                  <a:pt x="4498296" y="1256023"/>
                  <a:pt x="4262533" y="1256023"/>
                </a:cubicBezTo>
                <a:close/>
                <a:moveTo>
                  <a:pt x="5103667" y="1028680"/>
                </a:moveTo>
                <a:lnTo>
                  <a:pt x="5594137" y="1028680"/>
                </a:lnTo>
                <a:lnTo>
                  <a:pt x="5939362" y="2207494"/>
                </a:lnTo>
                <a:lnTo>
                  <a:pt x="5960412" y="2207494"/>
                </a:lnTo>
                <a:lnTo>
                  <a:pt x="5960412" y="1028680"/>
                </a:lnTo>
                <a:lnTo>
                  <a:pt x="6250905" y="1028680"/>
                </a:lnTo>
                <a:lnTo>
                  <a:pt x="6250905" y="2460097"/>
                </a:lnTo>
                <a:lnTo>
                  <a:pt x="5773065" y="2460097"/>
                </a:lnTo>
                <a:lnTo>
                  <a:pt x="5415211" y="1281283"/>
                </a:lnTo>
                <a:lnTo>
                  <a:pt x="5394160" y="1281283"/>
                </a:lnTo>
                <a:lnTo>
                  <a:pt x="5394160" y="2460097"/>
                </a:lnTo>
                <a:lnTo>
                  <a:pt x="5103667" y="2460097"/>
                </a:lnTo>
                <a:close/>
                <a:moveTo>
                  <a:pt x="3131991" y="1028680"/>
                </a:moveTo>
                <a:lnTo>
                  <a:pt x="3422485" y="1028680"/>
                </a:lnTo>
                <a:lnTo>
                  <a:pt x="3422485" y="2460097"/>
                </a:lnTo>
                <a:lnTo>
                  <a:pt x="3131991" y="2460097"/>
                </a:lnTo>
                <a:close/>
                <a:moveTo>
                  <a:pt x="1388917" y="1028680"/>
                </a:moveTo>
                <a:lnTo>
                  <a:pt x="1679410" y="1028680"/>
                </a:lnTo>
                <a:lnTo>
                  <a:pt x="1679410" y="2460097"/>
                </a:lnTo>
                <a:lnTo>
                  <a:pt x="1388917" y="2460097"/>
                </a:lnTo>
                <a:close/>
                <a:moveTo>
                  <a:pt x="0" y="1028680"/>
                </a:moveTo>
                <a:lnTo>
                  <a:pt x="305228" y="1028680"/>
                </a:lnTo>
                <a:lnTo>
                  <a:pt x="553621" y="2207494"/>
                </a:lnTo>
                <a:lnTo>
                  <a:pt x="648348" y="2207494"/>
                </a:lnTo>
                <a:lnTo>
                  <a:pt x="896740" y="1028680"/>
                </a:lnTo>
                <a:lnTo>
                  <a:pt x="1201969" y="1028680"/>
                </a:lnTo>
                <a:lnTo>
                  <a:pt x="869375" y="2460097"/>
                </a:lnTo>
                <a:lnTo>
                  <a:pt x="332594" y="2460097"/>
                </a:lnTo>
                <a:close/>
                <a:moveTo>
                  <a:pt x="4262533" y="1003420"/>
                </a:moveTo>
                <a:cubicBezTo>
                  <a:pt x="4713008" y="1003420"/>
                  <a:pt x="4856150" y="1268653"/>
                  <a:pt x="4856150" y="1752809"/>
                </a:cubicBezTo>
                <a:cubicBezTo>
                  <a:pt x="4856150" y="2236964"/>
                  <a:pt x="4713008" y="2485357"/>
                  <a:pt x="4262533" y="2485357"/>
                </a:cubicBezTo>
                <a:cubicBezTo>
                  <a:pt x="3812057" y="2485357"/>
                  <a:pt x="3668916" y="2236964"/>
                  <a:pt x="3668916" y="1752809"/>
                </a:cubicBezTo>
                <a:cubicBezTo>
                  <a:pt x="3668916" y="1268653"/>
                  <a:pt x="3812057" y="1003420"/>
                  <a:pt x="4262533" y="1003420"/>
                </a:cubicBezTo>
                <a:close/>
                <a:moveTo>
                  <a:pt x="2399472" y="1003420"/>
                </a:moveTo>
                <a:cubicBezTo>
                  <a:pt x="2591028" y="1003420"/>
                  <a:pt x="2870997" y="1060255"/>
                  <a:pt x="2870997" y="1060255"/>
                </a:cubicBezTo>
                <a:lnTo>
                  <a:pt x="2847842" y="1289703"/>
                </a:lnTo>
                <a:cubicBezTo>
                  <a:pt x="2847842" y="1289703"/>
                  <a:pt x="2551033" y="1256023"/>
                  <a:pt x="2428942" y="1256023"/>
                </a:cubicBezTo>
                <a:cubicBezTo>
                  <a:pt x="2273170" y="1256023"/>
                  <a:pt x="2199494" y="1312858"/>
                  <a:pt x="2199494" y="1407585"/>
                </a:cubicBezTo>
                <a:cubicBezTo>
                  <a:pt x="2199494" y="1498101"/>
                  <a:pt x="2256330" y="1529676"/>
                  <a:pt x="2496302" y="1605457"/>
                </a:cubicBezTo>
                <a:cubicBezTo>
                  <a:pt x="2805741" y="1704393"/>
                  <a:pt x="2900467" y="1790699"/>
                  <a:pt x="2900467" y="2028567"/>
                </a:cubicBezTo>
                <a:cubicBezTo>
                  <a:pt x="2900467" y="2340110"/>
                  <a:pt x="2687860" y="2485357"/>
                  <a:pt x="2405786" y="2485357"/>
                </a:cubicBezTo>
                <a:cubicBezTo>
                  <a:pt x="2210019" y="2485357"/>
                  <a:pt x="1927946" y="2420101"/>
                  <a:pt x="1927946" y="2420101"/>
                </a:cubicBezTo>
                <a:lnTo>
                  <a:pt x="1957416" y="2194864"/>
                </a:lnTo>
                <a:cubicBezTo>
                  <a:pt x="1957416" y="2194864"/>
                  <a:pt x="2239490" y="2232754"/>
                  <a:pt x="2388946" y="2232754"/>
                </a:cubicBezTo>
                <a:cubicBezTo>
                  <a:pt x="2544718" y="2232754"/>
                  <a:pt x="2612079" y="2159078"/>
                  <a:pt x="2612079" y="2047512"/>
                </a:cubicBezTo>
                <a:cubicBezTo>
                  <a:pt x="2612079" y="1959101"/>
                  <a:pt x="2561558" y="1919106"/>
                  <a:pt x="2355266" y="1860165"/>
                </a:cubicBezTo>
                <a:cubicBezTo>
                  <a:pt x="2033197" y="1767544"/>
                  <a:pt x="1911106" y="1658083"/>
                  <a:pt x="1911106" y="1428635"/>
                </a:cubicBezTo>
                <a:cubicBezTo>
                  <a:pt x="1911106" y="1131826"/>
                  <a:pt x="2108978" y="1003420"/>
                  <a:pt x="2399472" y="1003420"/>
                </a:cubicBezTo>
                <a:close/>
                <a:moveTo>
                  <a:pt x="3123597" y="0"/>
                </a:moveTo>
                <a:lnTo>
                  <a:pt x="3418531" y="0"/>
                </a:lnTo>
                <a:lnTo>
                  <a:pt x="3418531" y="945622"/>
                </a:lnTo>
                <a:lnTo>
                  <a:pt x="3123597" y="945622"/>
                </a:lnTo>
                <a:close/>
              </a:path>
            </a:pathLst>
          </a:cu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</p:spTree>
    <p:extLst>
      <p:ext uri="{BB962C8B-B14F-4D97-AF65-F5344CB8AC3E}">
        <p14:creationId xmlns:p14="http://schemas.microsoft.com/office/powerpoint/2010/main" val="16886225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432">
          <p15:clr>
            <a:srgbClr val="FBAE40"/>
          </p15:clr>
        </p15:guide>
        <p15:guide id="3" pos="7248">
          <p15:clr>
            <a:srgbClr val="FBAE40"/>
          </p15:clr>
        </p15:guide>
        <p15:guide id="4" orient="horz" pos="432">
          <p15:clr>
            <a:srgbClr val="FBAE40"/>
          </p15:clr>
        </p15:guide>
        <p15:guide id="5" orient="horz" pos="3888">
          <p15:clr>
            <a:srgbClr val="FBAE40"/>
          </p15:clr>
        </p15:guide>
        <p15:guide id="6" pos="3840">
          <p15:clr>
            <a:srgbClr val="FBAE40"/>
          </p15:clr>
        </p15:guide>
        <p15:guide id="7" pos="1128">
          <p15:clr>
            <a:srgbClr val="FBAE40"/>
          </p15:clr>
        </p15:guide>
        <p15:guide id="8" pos="6552">
          <p15:clr>
            <a:srgbClr val="FBAE40"/>
          </p15:clr>
        </p15:guide>
        <p15:guide id="9" orient="horz" pos="1944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>
          <a:xfrm>
            <a:off x="685800" y="685800"/>
            <a:ext cx="457200" cy="149901"/>
            <a:chOff x="685800" y="1144249"/>
            <a:chExt cx="457200" cy="149901"/>
          </a:xfrm>
        </p:grpSpPr>
        <p:sp>
          <p:nvSpPr>
            <p:cNvPr id="3" name="Rectangle 2"/>
            <p:cNvSpPr/>
            <p:nvPr userDrawn="1"/>
          </p:nvSpPr>
          <p:spPr>
            <a:xfrm>
              <a:off x="685800" y="1144249"/>
              <a:ext cx="18288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4" name="Rectangle 3"/>
            <p:cNvSpPr/>
            <p:nvPr userDrawn="1"/>
          </p:nvSpPr>
          <p:spPr>
            <a:xfrm>
              <a:off x="914400" y="1144249"/>
              <a:ext cx="4572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" name="Rectangle 4"/>
            <p:cNvSpPr/>
            <p:nvPr userDrawn="1"/>
          </p:nvSpPr>
          <p:spPr>
            <a:xfrm>
              <a:off x="1005840" y="1144249"/>
              <a:ext cx="4572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" name="Rectangle 5"/>
            <p:cNvSpPr/>
            <p:nvPr userDrawn="1"/>
          </p:nvSpPr>
          <p:spPr>
            <a:xfrm>
              <a:off x="685800" y="1244183"/>
              <a:ext cx="18288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" name="Rectangle 6"/>
            <p:cNvSpPr/>
            <p:nvPr userDrawn="1"/>
          </p:nvSpPr>
          <p:spPr>
            <a:xfrm>
              <a:off x="914400" y="1244183"/>
              <a:ext cx="4572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" name="Rectangle 7"/>
            <p:cNvSpPr/>
            <p:nvPr userDrawn="1"/>
          </p:nvSpPr>
          <p:spPr>
            <a:xfrm>
              <a:off x="1005840" y="1244183"/>
              <a:ext cx="4572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1097280" y="1244183"/>
              <a:ext cx="4572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10" name="Group 9"/>
          <p:cNvGrpSpPr/>
          <p:nvPr userDrawn="1"/>
        </p:nvGrpSpPr>
        <p:grpSpPr>
          <a:xfrm rot="10800000">
            <a:off x="11369040" y="685800"/>
            <a:ext cx="137160" cy="149901"/>
            <a:chOff x="1005840" y="1144249"/>
            <a:chExt cx="137160" cy="149901"/>
          </a:xfrm>
        </p:grpSpPr>
        <p:sp>
          <p:nvSpPr>
            <p:cNvPr id="11" name="Rectangle 10"/>
            <p:cNvSpPr/>
            <p:nvPr userDrawn="1"/>
          </p:nvSpPr>
          <p:spPr>
            <a:xfrm>
              <a:off x="1005840" y="1144249"/>
              <a:ext cx="4572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" name="Rectangle 11"/>
            <p:cNvSpPr/>
            <p:nvPr userDrawn="1"/>
          </p:nvSpPr>
          <p:spPr>
            <a:xfrm>
              <a:off x="1005840" y="1244183"/>
              <a:ext cx="4572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Rectangle 12"/>
            <p:cNvSpPr/>
            <p:nvPr userDrawn="1"/>
          </p:nvSpPr>
          <p:spPr>
            <a:xfrm>
              <a:off x="1097280" y="1244183"/>
              <a:ext cx="4572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14" name="Group 13"/>
          <p:cNvGrpSpPr/>
          <p:nvPr userDrawn="1"/>
        </p:nvGrpSpPr>
        <p:grpSpPr>
          <a:xfrm rot="10800000">
            <a:off x="11369040" y="6122233"/>
            <a:ext cx="137160" cy="49967"/>
            <a:chOff x="1005840" y="1244183"/>
            <a:chExt cx="137160" cy="49967"/>
          </a:xfrm>
        </p:grpSpPr>
        <p:sp>
          <p:nvSpPr>
            <p:cNvPr id="15" name="Rectangle 14"/>
            <p:cNvSpPr/>
            <p:nvPr userDrawn="1"/>
          </p:nvSpPr>
          <p:spPr>
            <a:xfrm>
              <a:off x="1005840" y="1244183"/>
              <a:ext cx="4572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6" name="Rectangle 15"/>
            <p:cNvSpPr/>
            <p:nvPr userDrawn="1"/>
          </p:nvSpPr>
          <p:spPr>
            <a:xfrm>
              <a:off x="1097280" y="1244183"/>
              <a:ext cx="4572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7" name="TextBox 16"/>
          <p:cNvSpPr txBox="1"/>
          <p:nvPr userDrawn="1"/>
        </p:nvSpPr>
        <p:spPr>
          <a:xfrm>
            <a:off x="594015" y="5991924"/>
            <a:ext cx="36740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260E2A6B-A809-4840-BF14-8648BC0BDF87}" type="slidenum">
              <a:rPr lang="id-ID" sz="1200" b="1" i="0">
                <a:solidFill>
                  <a:srgbClr val="000000"/>
                </a:solidFill>
                <a:latin typeface="Titillium" charset="0"/>
                <a:ea typeface="Titillium" charset="0"/>
                <a:cs typeface="Titillium" charset="0"/>
              </a:rPr>
              <a:pPr algn="l"/>
              <a:t>‹nº›</a:t>
            </a:fld>
            <a:endParaRPr lang="en-MY" sz="1200" b="1" i="0" dirty="0">
              <a:solidFill>
                <a:srgbClr val="000000"/>
              </a:solidFill>
              <a:latin typeface="Titillium" charset="0"/>
              <a:ea typeface="Titillium" charset="0"/>
              <a:cs typeface="Titillium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93893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432">
          <p15:clr>
            <a:srgbClr val="FBAE40"/>
          </p15:clr>
        </p15:guide>
        <p15:guide id="3" pos="7248">
          <p15:clr>
            <a:srgbClr val="FBAE40"/>
          </p15:clr>
        </p15:guide>
        <p15:guide id="4" orient="horz" pos="432">
          <p15:clr>
            <a:srgbClr val="FBAE40"/>
          </p15:clr>
        </p15:guide>
        <p15:guide id="5" orient="horz" pos="3888">
          <p15:clr>
            <a:srgbClr val="FBAE40"/>
          </p15:clr>
        </p15:guide>
        <p15:guide id="6" pos="3840">
          <p15:clr>
            <a:srgbClr val="FBAE40"/>
          </p15:clr>
        </p15:guide>
        <p15:guide id="7" pos="1128">
          <p15:clr>
            <a:srgbClr val="FBAE40"/>
          </p15:clr>
        </p15:guide>
        <p15:guide id="8" pos="6552">
          <p15:clr>
            <a:srgbClr val="FBAE40"/>
          </p15:clr>
        </p15:guide>
        <p15:guide id="9" orient="horz" pos="1944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>
          <a:xfrm>
            <a:off x="685800" y="685800"/>
            <a:ext cx="457200" cy="149901"/>
            <a:chOff x="685800" y="1144249"/>
            <a:chExt cx="457200" cy="149901"/>
          </a:xfrm>
        </p:grpSpPr>
        <p:sp>
          <p:nvSpPr>
            <p:cNvPr id="3" name="Rectangle 2"/>
            <p:cNvSpPr/>
            <p:nvPr userDrawn="1"/>
          </p:nvSpPr>
          <p:spPr>
            <a:xfrm>
              <a:off x="685800" y="1144249"/>
              <a:ext cx="18288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4" name="Rectangle 3"/>
            <p:cNvSpPr/>
            <p:nvPr userDrawn="1"/>
          </p:nvSpPr>
          <p:spPr>
            <a:xfrm>
              <a:off x="914400" y="1144249"/>
              <a:ext cx="4572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" name="Rectangle 4"/>
            <p:cNvSpPr/>
            <p:nvPr userDrawn="1"/>
          </p:nvSpPr>
          <p:spPr>
            <a:xfrm>
              <a:off x="1005840" y="1144249"/>
              <a:ext cx="4572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" name="Rectangle 5"/>
            <p:cNvSpPr/>
            <p:nvPr userDrawn="1"/>
          </p:nvSpPr>
          <p:spPr>
            <a:xfrm>
              <a:off x="685800" y="1244183"/>
              <a:ext cx="18288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" name="Rectangle 6"/>
            <p:cNvSpPr/>
            <p:nvPr userDrawn="1"/>
          </p:nvSpPr>
          <p:spPr>
            <a:xfrm>
              <a:off x="914400" y="1244183"/>
              <a:ext cx="4572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" name="Rectangle 7"/>
            <p:cNvSpPr/>
            <p:nvPr userDrawn="1"/>
          </p:nvSpPr>
          <p:spPr>
            <a:xfrm>
              <a:off x="1005840" y="1244183"/>
              <a:ext cx="4572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1097280" y="1244183"/>
              <a:ext cx="4572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7" name="TextBox 16"/>
          <p:cNvSpPr txBox="1"/>
          <p:nvPr userDrawn="1"/>
        </p:nvSpPr>
        <p:spPr>
          <a:xfrm>
            <a:off x="594015" y="5991924"/>
            <a:ext cx="36740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260E2A6B-A809-4840-BF14-8648BC0BDF87}" type="slidenum">
              <a:rPr lang="id-ID" sz="1200" b="1" i="0">
                <a:solidFill>
                  <a:srgbClr val="000000"/>
                </a:solidFill>
                <a:latin typeface="Titillium" charset="0"/>
                <a:ea typeface="Titillium" charset="0"/>
                <a:cs typeface="Titillium" charset="0"/>
              </a:rPr>
              <a:pPr algn="l"/>
              <a:t>‹nº›</a:t>
            </a:fld>
            <a:endParaRPr lang="en-MY" sz="1200" b="1" i="0" dirty="0">
              <a:solidFill>
                <a:srgbClr val="000000"/>
              </a:solidFill>
              <a:latin typeface="Titillium" charset="0"/>
              <a:ea typeface="Titillium" charset="0"/>
              <a:cs typeface="Titillium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591717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432">
          <p15:clr>
            <a:srgbClr val="FBAE40"/>
          </p15:clr>
        </p15:guide>
        <p15:guide id="3" pos="7248">
          <p15:clr>
            <a:srgbClr val="FBAE40"/>
          </p15:clr>
        </p15:guide>
        <p15:guide id="4" orient="horz" pos="432">
          <p15:clr>
            <a:srgbClr val="FBAE40"/>
          </p15:clr>
        </p15:guide>
        <p15:guide id="5" orient="horz" pos="3888">
          <p15:clr>
            <a:srgbClr val="FBAE40"/>
          </p15:clr>
        </p15:guide>
        <p15:guide id="6" pos="3840">
          <p15:clr>
            <a:srgbClr val="FBAE40"/>
          </p15:clr>
        </p15:guide>
        <p15:guide id="7" pos="1128">
          <p15:clr>
            <a:srgbClr val="FBAE40"/>
          </p15:clr>
        </p15:guide>
        <p15:guide id="8" pos="6552">
          <p15:clr>
            <a:srgbClr val="FBAE40"/>
          </p15:clr>
        </p15:guide>
        <p15:guide id="9" orient="horz" pos="1944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 userDrawn="1"/>
        </p:nvGrpSpPr>
        <p:grpSpPr>
          <a:xfrm rot="10800000">
            <a:off x="11369040" y="685800"/>
            <a:ext cx="137160" cy="149901"/>
            <a:chOff x="1005840" y="1144249"/>
            <a:chExt cx="137160" cy="149901"/>
          </a:xfrm>
        </p:grpSpPr>
        <p:sp>
          <p:nvSpPr>
            <p:cNvPr id="11" name="Rectangle 10"/>
            <p:cNvSpPr/>
            <p:nvPr userDrawn="1"/>
          </p:nvSpPr>
          <p:spPr>
            <a:xfrm>
              <a:off x="1005840" y="1144249"/>
              <a:ext cx="4572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" name="Rectangle 11"/>
            <p:cNvSpPr/>
            <p:nvPr userDrawn="1"/>
          </p:nvSpPr>
          <p:spPr>
            <a:xfrm>
              <a:off x="1005840" y="1244183"/>
              <a:ext cx="4572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Rectangle 12"/>
            <p:cNvSpPr/>
            <p:nvPr userDrawn="1"/>
          </p:nvSpPr>
          <p:spPr>
            <a:xfrm>
              <a:off x="1097280" y="1244183"/>
              <a:ext cx="4572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14" name="Group 13"/>
          <p:cNvGrpSpPr/>
          <p:nvPr userDrawn="1"/>
        </p:nvGrpSpPr>
        <p:grpSpPr>
          <a:xfrm rot="10800000">
            <a:off x="11369040" y="6122233"/>
            <a:ext cx="137160" cy="49967"/>
            <a:chOff x="1005840" y="1244183"/>
            <a:chExt cx="137160" cy="49967"/>
          </a:xfrm>
        </p:grpSpPr>
        <p:sp>
          <p:nvSpPr>
            <p:cNvPr id="15" name="Rectangle 14"/>
            <p:cNvSpPr/>
            <p:nvPr userDrawn="1"/>
          </p:nvSpPr>
          <p:spPr>
            <a:xfrm>
              <a:off x="1005840" y="1244183"/>
              <a:ext cx="4572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6" name="Rectangle 15"/>
            <p:cNvSpPr/>
            <p:nvPr userDrawn="1"/>
          </p:nvSpPr>
          <p:spPr>
            <a:xfrm>
              <a:off x="1097280" y="1244183"/>
              <a:ext cx="4572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18" name="Group 1"/>
          <p:cNvGrpSpPr/>
          <p:nvPr userDrawn="1"/>
        </p:nvGrpSpPr>
        <p:grpSpPr>
          <a:xfrm>
            <a:off x="685800" y="685800"/>
            <a:ext cx="457200" cy="149901"/>
            <a:chOff x="685800" y="1144249"/>
            <a:chExt cx="457200" cy="149901"/>
          </a:xfrm>
        </p:grpSpPr>
        <p:sp>
          <p:nvSpPr>
            <p:cNvPr id="19" name="Rectangle 2"/>
            <p:cNvSpPr/>
            <p:nvPr userDrawn="1"/>
          </p:nvSpPr>
          <p:spPr>
            <a:xfrm>
              <a:off x="685800" y="1144249"/>
              <a:ext cx="18288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0" name="Rectangle 3"/>
            <p:cNvSpPr/>
            <p:nvPr userDrawn="1"/>
          </p:nvSpPr>
          <p:spPr>
            <a:xfrm>
              <a:off x="914400" y="1144249"/>
              <a:ext cx="4572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1" name="Rectangle 4"/>
            <p:cNvSpPr/>
            <p:nvPr userDrawn="1"/>
          </p:nvSpPr>
          <p:spPr>
            <a:xfrm>
              <a:off x="1005840" y="1144249"/>
              <a:ext cx="4572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2" name="Rectangle 5"/>
            <p:cNvSpPr/>
            <p:nvPr userDrawn="1"/>
          </p:nvSpPr>
          <p:spPr>
            <a:xfrm>
              <a:off x="685800" y="1244183"/>
              <a:ext cx="18288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3" name="Rectangle 6"/>
            <p:cNvSpPr/>
            <p:nvPr userDrawn="1"/>
          </p:nvSpPr>
          <p:spPr>
            <a:xfrm>
              <a:off x="914400" y="1244183"/>
              <a:ext cx="4572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4" name="Rectangle 7"/>
            <p:cNvSpPr/>
            <p:nvPr userDrawn="1"/>
          </p:nvSpPr>
          <p:spPr>
            <a:xfrm>
              <a:off x="1005840" y="1244183"/>
              <a:ext cx="4572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5" name="Rectangle 8"/>
            <p:cNvSpPr/>
            <p:nvPr userDrawn="1"/>
          </p:nvSpPr>
          <p:spPr>
            <a:xfrm>
              <a:off x="1097280" y="1244183"/>
              <a:ext cx="4572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869838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432">
          <p15:clr>
            <a:srgbClr val="FBAE40"/>
          </p15:clr>
        </p15:guide>
        <p15:guide id="3" pos="7248">
          <p15:clr>
            <a:srgbClr val="FBAE40"/>
          </p15:clr>
        </p15:guide>
        <p15:guide id="4" orient="horz" pos="432">
          <p15:clr>
            <a:srgbClr val="FBAE40"/>
          </p15:clr>
        </p15:guide>
        <p15:guide id="5" orient="horz" pos="3888">
          <p15:clr>
            <a:srgbClr val="FBAE40"/>
          </p15:clr>
        </p15:guide>
        <p15:guide id="6" pos="3840">
          <p15:clr>
            <a:srgbClr val="FBAE40"/>
          </p15:clr>
        </p15:guide>
        <p15:guide id="7" pos="1128">
          <p15:clr>
            <a:srgbClr val="FBAE40"/>
          </p15:clr>
        </p15:guide>
        <p15:guide id="8" pos="6552">
          <p15:clr>
            <a:srgbClr val="FBAE40"/>
          </p15:clr>
        </p15:guide>
        <p15:guide id="9" orient="horz" pos="1944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>
          <a:xfrm>
            <a:off x="685800" y="685800"/>
            <a:ext cx="457200" cy="149901"/>
            <a:chOff x="685800" y="1144249"/>
            <a:chExt cx="457200" cy="149901"/>
          </a:xfrm>
        </p:grpSpPr>
        <p:sp>
          <p:nvSpPr>
            <p:cNvPr id="3" name="Rectangle 2"/>
            <p:cNvSpPr/>
            <p:nvPr userDrawn="1"/>
          </p:nvSpPr>
          <p:spPr>
            <a:xfrm>
              <a:off x="685800" y="1144249"/>
              <a:ext cx="18288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4" name="Rectangle 3"/>
            <p:cNvSpPr/>
            <p:nvPr userDrawn="1"/>
          </p:nvSpPr>
          <p:spPr>
            <a:xfrm>
              <a:off x="914400" y="1144249"/>
              <a:ext cx="4572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" name="Rectangle 4"/>
            <p:cNvSpPr/>
            <p:nvPr userDrawn="1"/>
          </p:nvSpPr>
          <p:spPr>
            <a:xfrm>
              <a:off x="1005840" y="1144249"/>
              <a:ext cx="4572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" name="Rectangle 5"/>
            <p:cNvSpPr/>
            <p:nvPr userDrawn="1"/>
          </p:nvSpPr>
          <p:spPr>
            <a:xfrm>
              <a:off x="685800" y="1244183"/>
              <a:ext cx="18288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" name="Rectangle 6"/>
            <p:cNvSpPr/>
            <p:nvPr userDrawn="1"/>
          </p:nvSpPr>
          <p:spPr>
            <a:xfrm>
              <a:off x="914400" y="1244183"/>
              <a:ext cx="4572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" name="Rectangle 7"/>
            <p:cNvSpPr/>
            <p:nvPr userDrawn="1"/>
          </p:nvSpPr>
          <p:spPr>
            <a:xfrm>
              <a:off x="1005840" y="1244183"/>
              <a:ext cx="4572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1097280" y="1244183"/>
              <a:ext cx="4572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10" name="Group 9"/>
          <p:cNvGrpSpPr/>
          <p:nvPr userDrawn="1"/>
        </p:nvGrpSpPr>
        <p:grpSpPr>
          <a:xfrm rot="10800000">
            <a:off x="11369040" y="685800"/>
            <a:ext cx="137160" cy="149901"/>
            <a:chOff x="1005840" y="1144249"/>
            <a:chExt cx="137160" cy="149901"/>
          </a:xfrm>
        </p:grpSpPr>
        <p:sp>
          <p:nvSpPr>
            <p:cNvPr id="11" name="Rectangle 10"/>
            <p:cNvSpPr/>
            <p:nvPr userDrawn="1"/>
          </p:nvSpPr>
          <p:spPr>
            <a:xfrm>
              <a:off x="1005840" y="1144249"/>
              <a:ext cx="4572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" name="Rectangle 11"/>
            <p:cNvSpPr/>
            <p:nvPr userDrawn="1"/>
          </p:nvSpPr>
          <p:spPr>
            <a:xfrm>
              <a:off x="1005840" y="1244183"/>
              <a:ext cx="4572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Rectangle 12"/>
            <p:cNvSpPr/>
            <p:nvPr userDrawn="1"/>
          </p:nvSpPr>
          <p:spPr>
            <a:xfrm>
              <a:off x="1097280" y="1244183"/>
              <a:ext cx="4572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14" name="Group 13"/>
          <p:cNvGrpSpPr/>
          <p:nvPr userDrawn="1"/>
        </p:nvGrpSpPr>
        <p:grpSpPr>
          <a:xfrm rot="10800000">
            <a:off x="11369040" y="6122233"/>
            <a:ext cx="137160" cy="49967"/>
            <a:chOff x="1005840" y="1244183"/>
            <a:chExt cx="137160" cy="49967"/>
          </a:xfrm>
        </p:grpSpPr>
        <p:sp>
          <p:nvSpPr>
            <p:cNvPr id="15" name="Rectangle 14"/>
            <p:cNvSpPr/>
            <p:nvPr userDrawn="1"/>
          </p:nvSpPr>
          <p:spPr>
            <a:xfrm>
              <a:off x="1005840" y="1244183"/>
              <a:ext cx="4572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6" name="Rectangle 15"/>
            <p:cNvSpPr/>
            <p:nvPr userDrawn="1"/>
          </p:nvSpPr>
          <p:spPr>
            <a:xfrm>
              <a:off x="1097280" y="1244183"/>
              <a:ext cx="4572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7" name="TextBox 16"/>
          <p:cNvSpPr txBox="1"/>
          <p:nvPr userDrawn="1"/>
        </p:nvSpPr>
        <p:spPr>
          <a:xfrm>
            <a:off x="594015" y="5991924"/>
            <a:ext cx="36740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260E2A6B-A809-4840-BF14-8648BC0BDF87}" type="slidenum">
              <a:rPr lang="id-ID" sz="1200" b="1" i="0">
                <a:solidFill>
                  <a:srgbClr val="000000"/>
                </a:solidFill>
                <a:latin typeface="Titillium" charset="0"/>
                <a:ea typeface="Titillium" charset="0"/>
                <a:cs typeface="Titillium" charset="0"/>
              </a:rPr>
              <a:pPr algn="l"/>
              <a:t>‹nº›</a:t>
            </a:fld>
            <a:endParaRPr lang="en-MY" sz="1200" b="1" i="0" dirty="0">
              <a:solidFill>
                <a:srgbClr val="000000"/>
              </a:solidFill>
              <a:latin typeface="Titillium" charset="0"/>
              <a:ea typeface="Titillium" charset="0"/>
              <a:cs typeface="Titillium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272007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432">
          <p15:clr>
            <a:srgbClr val="FBAE40"/>
          </p15:clr>
        </p15:guide>
        <p15:guide id="3" pos="7248">
          <p15:clr>
            <a:srgbClr val="FBAE40"/>
          </p15:clr>
        </p15:guide>
        <p15:guide id="4" orient="horz" pos="432">
          <p15:clr>
            <a:srgbClr val="FBAE40"/>
          </p15:clr>
        </p15:guide>
        <p15:guide id="5" orient="horz" pos="3888">
          <p15:clr>
            <a:srgbClr val="FBAE40"/>
          </p15:clr>
        </p15:guide>
        <p15:guide id="6" pos="3840">
          <p15:clr>
            <a:srgbClr val="FBAE40"/>
          </p15:clr>
        </p15:guide>
        <p15:guide id="7" pos="1128">
          <p15:clr>
            <a:srgbClr val="FBAE40"/>
          </p15:clr>
        </p15:guide>
        <p15:guide id="8" pos="6552">
          <p15:clr>
            <a:srgbClr val="FBAE40"/>
          </p15:clr>
        </p15:guide>
        <p15:guide id="9" orient="horz" pos="1944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 userDrawn="1"/>
        </p:nvGrpSpPr>
        <p:grpSpPr>
          <a:xfrm rot="10800000">
            <a:off x="11369040" y="685800"/>
            <a:ext cx="137160" cy="149901"/>
            <a:chOff x="1005840" y="1144249"/>
            <a:chExt cx="137160" cy="149901"/>
          </a:xfrm>
        </p:grpSpPr>
        <p:sp>
          <p:nvSpPr>
            <p:cNvPr id="11" name="Rectangle 10"/>
            <p:cNvSpPr/>
            <p:nvPr userDrawn="1"/>
          </p:nvSpPr>
          <p:spPr>
            <a:xfrm>
              <a:off x="1005840" y="1144249"/>
              <a:ext cx="4572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" name="Rectangle 11"/>
            <p:cNvSpPr/>
            <p:nvPr userDrawn="1"/>
          </p:nvSpPr>
          <p:spPr>
            <a:xfrm>
              <a:off x="1005840" y="1244183"/>
              <a:ext cx="4572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Rectangle 12"/>
            <p:cNvSpPr/>
            <p:nvPr userDrawn="1"/>
          </p:nvSpPr>
          <p:spPr>
            <a:xfrm>
              <a:off x="1097280" y="1244183"/>
              <a:ext cx="4572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14" name="Group 13"/>
          <p:cNvGrpSpPr/>
          <p:nvPr userDrawn="1"/>
        </p:nvGrpSpPr>
        <p:grpSpPr>
          <a:xfrm rot="10800000">
            <a:off x="11369040" y="6122233"/>
            <a:ext cx="137160" cy="49967"/>
            <a:chOff x="1005840" y="1244183"/>
            <a:chExt cx="137160" cy="49967"/>
          </a:xfrm>
        </p:grpSpPr>
        <p:sp>
          <p:nvSpPr>
            <p:cNvPr id="15" name="Rectangle 14"/>
            <p:cNvSpPr/>
            <p:nvPr userDrawn="1"/>
          </p:nvSpPr>
          <p:spPr>
            <a:xfrm>
              <a:off x="1005840" y="1244183"/>
              <a:ext cx="4572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6" name="Rectangle 15"/>
            <p:cNvSpPr/>
            <p:nvPr userDrawn="1"/>
          </p:nvSpPr>
          <p:spPr>
            <a:xfrm>
              <a:off x="1097280" y="1244183"/>
              <a:ext cx="4572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8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6096000" cy="6858000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  <p:grpSp>
        <p:nvGrpSpPr>
          <p:cNvPr id="19" name="Group 1"/>
          <p:cNvGrpSpPr/>
          <p:nvPr userDrawn="1"/>
        </p:nvGrpSpPr>
        <p:grpSpPr>
          <a:xfrm>
            <a:off x="685800" y="685800"/>
            <a:ext cx="457200" cy="149901"/>
            <a:chOff x="685800" y="1144249"/>
            <a:chExt cx="457200" cy="149901"/>
          </a:xfrm>
        </p:grpSpPr>
        <p:sp>
          <p:nvSpPr>
            <p:cNvPr id="20" name="Rectangle 2"/>
            <p:cNvSpPr/>
            <p:nvPr userDrawn="1"/>
          </p:nvSpPr>
          <p:spPr>
            <a:xfrm>
              <a:off x="685800" y="1144249"/>
              <a:ext cx="18288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1" name="Rectangle 3"/>
            <p:cNvSpPr/>
            <p:nvPr userDrawn="1"/>
          </p:nvSpPr>
          <p:spPr>
            <a:xfrm>
              <a:off x="914400" y="1144249"/>
              <a:ext cx="4572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2" name="Rectangle 4"/>
            <p:cNvSpPr/>
            <p:nvPr userDrawn="1"/>
          </p:nvSpPr>
          <p:spPr>
            <a:xfrm>
              <a:off x="1005840" y="1144249"/>
              <a:ext cx="4572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3" name="Rectangle 5"/>
            <p:cNvSpPr/>
            <p:nvPr userDrawn="1"/>
          </p:nvSpPr>
          <p:spPr>
            <a:xfrm>
              <a:off x="685800" y="1244183"/>
              <a:ext cx="18288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4" name="Rectangle 6"/>
            <p:cNvSpPr/>
            <p:nvPr userDrawn="1"/>
          </p:nvSpPr>
          <p:spPr>
            <a:xfrm>
              <a:off x="914400" y="1244183"/>
              <a:ext cx="4572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5" name="Rectangle 7"/>
            <p:cNvSpPr/>
            <p:nvPr userDrawn="1"/>
          </p:nvSpPr>
          <p:spPr>
            <a:xfrm>
              <a:off x="1005840" y="1244183"/>
              <a:ext cx="4572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6" name="Rectangle 8"/>
            <p:cNvSpPr/>
            <p:nvPr userDrawn="1"/>
          </p:nvSpPr>
          <p:spPr>
            <a:xfrm>
              <a:off x="1097280" y="1244183"/>
              <a:ext cx="4572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7019437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432">
          <p15:clr>
            <a:srgbClr val="FBAE40"/>
          </p15:clr>
        </p15:guide>
        <p15:guide id="3" pos="7248">
          <p15:clr>
            <a:srgbClr val="FBAE40"/>
          </p15:clr>
        </p15:guide>
        <p15:guide id="4" orient="horz" pos="432">
          <p15:clr>
            <a:srgbClr val="FBAE40"/>
          </p15:clr>
        </p15:guide>
        <p15:guide id="5" orient="horz" pos="3888">
          <p15:clr>
            <a:srgbClr val="FBAE40"/>
          </p15:clr>
        </p15:guide>
        <p15:guide id="6" pos="3840">
          <p15:clr>
            <a:srgbClr val="FBAE40"/>
          </p15:clr>
        </p15:guide>
        <p15:guide id="7" pos="1128">
          <p15:clr>
            <a:srgbClr val="FBAE40"/>
          </p15:clr>
        </p15:guide>
        <p15:guide id="8" pos="6552">
          <p15:clr>
            <a:srgbClr val="FBAE40"/>
          </p15:clr>
        </p15:guide>
        <p15:guide id="9" orient="horz" pos="1944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7389340" y="0"/>
            <a:ext cx="4802659" cy="6858000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  <p:grpSp>
        <p:nvGrpSpPr>
          <p:cNvPr id="17" name="Group 16"/>
          <p:cNvGrpSpPr/>
          <p:nvPr userDrawn="1"/>
        </p:nvGrpSpPr>
        <p:grpSpPr>
          <a:xfrm>
            <a:off x="685800" y="685800"/>
            <a:ext cx="457200" cy="149901"/>
            <a:chOff x="685800" y="1144249"/>
            <a:chExt cx="457200" cy="149901"/>
          </a:xfrm>
        </p:grpSpPr>
        <p:sp>
          <p:nvSpPr>
            <p:cNvPr id="25" name="Rectangle 24"/>
            <p:cNvSpPr/>
            <p:nvPr userDrawn="1"/>
          </p:nvSpPr>
          <p:spPr>
            <a:xfrm>
              <a:off x="685800" y="1144249"/>
              <a:ext cx="18288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6" name="Rectangle 25"/>
            <p:cNvSpPr/>
            <p:nvPr userDrawn="1"/>
          </p:nvSpPr>
          <p:spPr>
            <a:xfrm>
              <a:off x="914400" y="1144249"/>
              <a:ext cx="4572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7" name="Rectangle 26"/>
            <p:cNvSpPr/>
            <p:nvPr userDrawn="1"/>
          </p:nvSpPr>
          <p:spPr>
            <a:xfrm>
              <a:off x="1005840" y="1144249"/>
              <a:ext cx="4572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8" name="Rectangle 27"/>
            <p:cNvSpPr/>
            <p:nvPr userDrawn="1"/>
          </p:nvSpPr>
          <p:spPr>
            <a:xfrm>
              <a:off x="685800" y="1244183"/>
              <a:ext cx="18288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9" name="Rectangle 28"/>
            <p:cNvSpPr/>
            <p:nvPr userDrawn="1"/>
          </p:nvSpPr>
          <p:spPr>
            <a:xfrm>
              <a:off x="914400" y="1244183"/>
              <a:ext cx="4572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0" name="Rectangle 29"/>
            <p:cNvSpPr/>
            <p:nvPr userDrawn="1"/>
          </p:nvSpPr>
          <p:spPr>
            <a:xfrm>
              <a:off x="1005840" y="1244183"/>
              <a:ext cx="4572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1" name="Rectangle 30"/>
            <p:cNvSpPr/>
            <p:nvPr userDrawn="1"/>
          </p:nvSpPr>
          <p:spPr>
            <a:xfrm>
              <a:off x="1097280" y="1244183"/>
              <a:ext cx="4572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32" name="TextBox 31"/>
          <p:cNvSpPr txBox="1"/>
          <p:nvPr userDrawn="1"/>
        </p:nvSpPr>
        <p:spPr>
          <a:xfrm>
            <a:off x="594015" y="5991924"/>
            <a:ext cx="36740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260E2A6B-A809-4840-BF14-8648BC0BDF87}" type="slidenum">
              <a:rPr lang="id-ID" sz="1200" b="1" i="0">
                <a:solidFill>
                  <a:srgbClr val="000000"/>
                </a:solidFill>
                <a:latin typeface="Titillium" charset="0"/>
                <a:ea typeface="Titillium" charset="0"/>
                <a:cs typeface="Titillium" charset="0"/>
              </a:rPr>
              <a:pPr algn="l"/>
              <a:t>‹nº›</a:t>
            </a:fld>
            <a:endParaRPr lang="en-MY" sz="1200" b="1" i="0" dirty="0">
              <a:solidFill>
                <a:srgbClr val="000000"/>
              </a:solidFill>
              <a:latin typeface="Titillium" charset="0"/>
              <a:ea typeface="Titillium" charset="0"/>
              <a:cs typeface="Titillium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5869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432">
          <p15:clr>
            <a:srgbClr val="FBAE40"/>
          </p15:clr>
        </p15:guide>
        <p15:guide id="3" pos="7248">
          <p15:clr>
            <a:srgbClr val="FBAE40"/>
          </p15:clr>
        </p15:guide>
        <p15:guide id="4" orient="horz" pos="432">
          <p15:clr>
            <a:srgbClr val="FBAE40"/>
          </p15:clr>
        </p15:guide>
        <p15:guide id="5" orient="horz" pos="3888">
          <p15:clr>
            <a:srgbClr val="FBAE40"/>
          </p15:clr>
        </p15:guide>
        <p15:guide id="6" pos="3840">
          <p15:clr>
            <a:srgbClr val="FBAE40"/>
          </p15:clr>
        </p15:guide>
        <p15:guide id="7" pos="1128">
          <p15:clr>
            <a:srgbClr val="FBAE40"/>
          </p15:clr>
        </p15:guide>
        <p15:guide id="8" pos="6552">
          <p15:clr>
            <a:srgbClr val="FBAE40"/>
          </p15:clr>
        </p15:guide>
        <p15:guide id="9" orient="horz" pos="1944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1790700" y="685800"/>
            <a:ext cx="8610600" cy="1229497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</p:spTree>
    <p:extLst>
      <p:ext uri="{BB962C8B-B14F-4D97-AF65-F5344CB8AC3E}">
        <p14:creationId xmlns:p14="http://schemas.microsoft.com/office/powerpoint/2010/main" val="16359053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432">
          <p15:clr>
            <a:srgbClr val="FBAE40"/>
          </p15:clr>
        </p15:guide>
        <p15:guide id="3" pos="7248">
          <p15:clr>
            <a:srgbClr val="FBAE40"/>
          </p15:clr>
        </p15:guide>
        <p15:guide id="4" orient="horz" pos="432">
          <p15:clr>
            <a:srgbClr val="FBAE40"/>
          </p15:clr>
        </p15:guide>
        <p15:guide id="5" orient="horz" pos="3888">
          <p15:clr>
            <a:srgbClr val="FBAE40"/>
          </p15:clr>
        </p15:guide>
        <p15:guide id="6" pos="3840">
          <p15:clr>
            <a:srgbClr val="FBAE40"/>
          </p15:clr>
        </p15:guide>
        <p15:guide id="7" pos="1128">
          <p15:clr>
            <a:srgbClr val="FBAE40"/>
          </p15:clr>
        </p15:guide>
        <p15:guide id="8" pos="6552">
          <p15:clr>
            <a:srgbClr val="FBAE40"/>
          </p15:clr>
        </p15:guide>
        <p15:guide id="9" orient="horz" pos="1944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8389088" y="685800"/>
            <a:ext cx="2012212" cy="5486400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  <p:sp>
        <p:nvSpPr>
          <p:cNvPr id="6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376876" y="685800"/>
            <a:ext cx="2012212" cy="5486400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4364664" y="685800"/>
            <a:ext cx="2012212" cy="5486400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</p:spTree>
    <p:extLst>
      <p:ext uri="{BB962C8B-B14F-4D97-AF65-F5344CB8AC3E}">
        <p14:creationId xmlns:p14="http://schemas.microsoft.com/office/powerpoint/2010/main" val="14266478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432">
          <p15:clr>
            <a:srgbClr val="FBAE40"/>
          </p15:clr>
        </p15:guide>
        <p15:guide id="3" pos="7248">
          <p15:clr>
            <a:srgbClr val="FBAE40"/>
          </p15:clr>
        </p15:guide>
        <p15:guide id="4" orient="horz" pos="432">
          <p15:clr>
            <a:srgbClr val="FBAE40"/>
          </p15:clr>
        </p15:guide>
        <p15:guide id="5" orient="horz" pos="3888">
          <p15:clr>
            <a:srgbClr val="FBAE40"/>
          </p15:clr>
        </p15:guide>
        <p15:guide id="6" pos="3840">
          <p15:clr>
            <a:srgbClr val="FBAE40"/>
          </p15:clr>
        </p15:guide>
        <p15:guide id="7" pos="1128">
          <p15:clr>
            <a:srgbClr val="FBAE40"/>
          </p15:clr>
        </p15:guide>
        <p15:guide id="8" pos="6552">
          <p15:clr>
            <a:srgbClr val="FBAE40"/>
          </p15:clr>
        </p15:guide>
        <p15:guide id="9" orient="horz" pos="1944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>
          <a:xfrm>
            <a:off x="685800" y="685800"/>
            <a:ext cx="457200" cy="149901"/>
            <a:chOff x="685800" y="1144249"/>
            <a:chExt cx="457200" cy="149901"/>
          </a:xfrm>
        </p:grpSpPr>
        <p:sp>
          <p:nvSpPr>
            <p:cNvPr id="3" name="Rectangle 2"/>
            <p:cNvSpPr/>
            <p:nvPr userDrawn="1"/>
          </p:nvSpPr>
          <p:spPr>
            <a:xfrm>
              <a:off x="685800" y="1144249"/>
              <a:ext cx="18288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4" name="Rectangle 3"/>
            <p:cNvSpPr/>
            <p:nvPr userDrawn="1"/>
          </p:nvSpPr>
          <p:spPr>
            <a:xfrm>
              <a:off x="914400" y="1144249"/>
              <a:ext cx="4572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" name="Rectangle 4"/>
            <p:cNvSpPr/>
            <p:nvPr userDrawn="1"/>
          </p:nvSpPr>
          <p:spPr>
            <a:xfrm>
              <a:off x="1005840" y="1144249"/>
              <a:ext cx="4572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" name="Rectangle 5"/>
            <p:cNvSpPr/>
            <p:nvPr userDrawn="1"/>
          </p:nvSpPr>
          <p:spPr>
            <a:xfrm>
              <a:off x="685800" y="1244183"/>
              <a:ext cx="18288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" name="Rectangle 6"/>
            <p:cNvSpPr/>
            <p:nvPr userDrawn="1"/>
          </p:nvSpPr>
          <p:spPr>
            <a:xfrm>
              <a:off x="914400" y="1244183"/>
              <a:ext cx="4572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" name="Rectangle 7"/>
            <p:cNvSpPr/>
            <p:nvPr userDrawn="1"/>
          </p:nvSpPr>
          <p:spPr>
            <a:xfrm>
              <a:off x="1005840" y="1244183"/>
              <a:ext cx="4572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1097280" y="1244183"/>
              <a:ext cx="4572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10" name="Group 9"/>
          <p:cNvGrpSpPr/>
          <p:nvPr userDrawn="1"/>
        </p:nvGrpSpPr>
        <p:grpSpPr>
          <a:xfrm rot="10800000">
            <a:off x="11369040" y="685800"/>
            <a:ext cx="137160" cy="149901"/>
            <a:chOff x="1005840" y="1144249"/>
            <a:chExt cx="137160" cy="149901"/>
          </a:xfrm>
        </p:grpSpPr>
        <p:sp>
          <p:nvSpPr>
            <p:cNvPr id="11" name="Rectangle 10"/>
            <p:cNvSpPr/>
            <p:nvPr userDrawn="1"/>
          </p:nvSpPr>
          <p:spPr>
            <a:xfrm>
              <a:off x="1005840" y="1144249"/>
              <a:ext cx="4572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" name="Rectangle 11"/>
            <p:cNvSpPr/>
            <p:nvPr userDrawn="1"/>
          </p:nvSpPr>
          <p:spPr>
            <a:xfrm>
              <a:off x="1005840" y="1244183"/>
              <a:ext cx="4572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Rectangle 12"/>
            <p:cNvSpPr/>
            <p:nvPr userDrawn="1"/>
          </p:nvSpPr>
          <p:spPr>
            <a:xfrm>
              <a:off x="1097280" y="1244183"/>
              <a:ext cx="4572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14" name="Group 13"/>
          <p:cNvGrpSpPr/>
          <p:nvPr userDrawn="1"/>
        </p:nvGrpSpPr>
        <p:grpSpPr>
          <a:xfrm rot="10800000">
            <a:off x="11369040" y="6122233"/>
            <a:ext cx="137160" cy="49967"/>
            <a:chOff x="1005840" y="1244183"/>
            <a:chExt cx="137160" cy="49967"/>
          </a:xfrm>
        </p:grpSpPr>
        <p:sp>
          <p:nvSpPr>
            <p:cNvPr id="15" name="Rectangle 14"/>
            <p:cNvSpPr/>
            <p:nvPr userDrawn="1"/>
          </p:nvSpPr>
          <p:spPr>
            <a:xfrm>
              <a:off x="1005840" y="1244183"/>
              <a:ext cx="4572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6" name="Rectangle 15"/>
            <p:cNvSpPr/>
            <p:nvPr userDrawn="1"/>
          </p:nvSpPr>
          <p:spPr>
            <a:xfrm>
              <a:off x="1097280" y="1244183"/>
              <a:ext cx="4572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7" name="TextBox 16"/>
          <p:cNvSpPr txBox="1"/>
          <p:nvPr userDrawn="1"/>
        </p:nvSpPr>
        <p:spPr>
          <a:xfrm>
            <a:off x="594015" y="5991924"/>
            <a:ext cx="36740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260E2A6B-A809-4840-BF14-8648BC0BDF87}" type="slidenum">
              <a:rPr lang="id-ID" sz="1200" b="1" i="0">
                <a:solidFill>
                  <a:srgbClr val="000000"/>
                </a:solidFill>
                <a:latin typeface="Titillium" charset="0"/>
                <a:ea typeface="Titillium" charset="0"/>
                <a:cs typeface="Titillium" charset="0"/>
              </a:rPr>
              <a:pPr algn="l"/>
              <a:t>‹nº›</a:t>
            </a:fld>
            <a:endParaRPr lang="en-MY" sz="1200" b="1" i="0" dirty="0">
              <a:solidFill>
                <a:srgbClr val="000000"/>
              </a:solidFill>
              <a:latin typeface="Titillium" charset="0"/>
              <a:ea typeface="Titillium" charset="0"/>
              <a:cs typeface="Titillium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781756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432">
          <p15:clr>
            <a:srgbClr val="FBAE40"/>
          </p15:clr>
        </p15:guide>
        <p15:guide id="3" pos="7248">
          <p15:clr>
            <a:srgbClr val="FBAE40"/>
          </p15:clr>
        </p15:guide>
        <p15:guide id="4" orient="horz" pos="432">
          <p15:clr>
            <a:srgbClr val="FBAE40"/>
          </p15:clr>
        </p15:guide>
        <p15:guide id="5" orient="horz" pos="3888">
          <p15:clr>
            <a:srgbClr val="FBAE40"/>
          </p15:clr>
        </p15:guide>
        <p15:guide id="6" pos="3840">
          <p15:clr>
            <a:srgbClr val="FBAE40"/>
          </p15:clr>
        </p15:guide>
        <p15:guide id="7" pos="1128">
          <p15:clr>
            <a:srgbClr val="FBAE40"/>
          </p15:clr>
        </p15:guide>
        <p15:guide id="8" pos="6552">
          <p15:clr>
            <a:srgbClr val="FBAE40"/>
          </p15:clr>
        </p15:guide>
        <p15:guide id="9" orient="horz" pos="1944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E6C8361-02C3-431D-89BD-D8A295ACF5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7A9042B3-4576-41EB-A71D-E7797F8E635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389BF2E4-69A6-464B-B134-02736D6031B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8BD13B43-3686-41A0-B730-B824E5FD81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3A656C-BD5A-450D-8E27-5AFFED385077}" type="datetimeFigureOut">
              <a:rPr lang="pt-BR" smtClean="0"/>
              <a:t>28/05/2020</a:t>
            </a:fld>
            <a:endParaRPr lang="pt-BR" dirty="0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D9C5BD50-D065-4E88-B3AC-3B60DBA720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B6521BB4-C34F-49DB-A7DF-E0A66C3D31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E774B9-B12C-4857-9133-C2FE22381242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1623367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2232802" y="1740263"/>
            <a:ext cx="3377474" cy="3377474"/>
          </a:xfrm>
          <a:custGeom>
            <a:avLst/>
            <a:gdLst>
              <a:gd name="connsiteX0" fmla="*/ 871889 w 3377474"/>
              <a:gd name="connsiteY0" fmla="*/ 3070374 h 3377474"/>
              <a:gd name="connsiteX1" fmla="*/ 905976 w 3377474"/>
              <a:gd name="connsiteY1" fmla="*/ 3223924 h 3377474"/>
              <a:gd name="connsiteX2" fmla="*/ 1361779 w 3377474"/>
              <a:gd name="connsiteY2" fmla="*/ 3223924 h 3377474"/>
              <a:gd name="connsiteX3" fmla="*/ 1325815 w 3377474"/>
              <a:gd name="connsiteY3" fmla="*/ 3070374 h 3377474"/>
              <a:gd name="connsiteX4" fmla="*/ 645160 w 3377474"/>
              <a:gd name="connsiteY4" fmla="*/ 2050877 h 3377474"/>
              <a:gd name="connsiteX5" fmla="*/ 837645 w 3377474"/>
              <a:gd name="connsiteY5" fmla="*/ 2916981 h 3377474"/>
              <a:gd name="connsiteX6" fmla="*/ 1290164 w 3377474"/>
              <a:gd name="connsiteY6" fmla="*/ 2916981 h 3377474"/>
              <a:gd name="connsiteX7" fmla="*/ 1120665 w 3377474"/>
              <a:gd name="connsiteY7" fmla="*/ 2190667 h 3377474"/>
              <a:gd name="connsiteX8" fmla="*/ 3070374 w 3377474"/>
              <a:gd name="connsiteY8" fmla="*/ 1151469 h 3377474"/>
              <a:gd name="connsiteX9" fmla="*/ 3070374 w 3377474"/>
              <a:gd name="connsiteY9" fmla="*/ 1765512 h 3377474"/>
              <a:gd name="connsiteX10" fmla="*/ 3223924 w 3377474"/>
              <a:gd name="connsiteY10" fmla="*/ 1611962 h 3377474"/>
              <a:gd name="connsiteX11" fmla="*/ 3223924 w 3377474"/>
              <a:gd name="connsiteY11" fmla="*/ 1304862 h 3377474"/>
              <a:gd name="connsiteX12" fmla="*/ 3070374 w 3377474"/>
              <a:gd name="connsiteY12" fmla="*/ 1151469 h 3377474"/>
              <a:gd name="connsiteX13" fmla="*/ 153550 w 3377474"/>
              <a:gd name="connsiteY13" fmla="*/ 1074694 h 3377474"/>
              <a:gd name="connsiteX14" fmla="*/ 153550 w 3377474"/>
              <a:gd name="connsiteY14" fmla="*/ 1842287 h 3377474"/>
              <a:gd name="connsiteX15" fmla="*/ 307100 w 3377474"/>
              <a:gd name="connsiteY15" fmla="*/ 1842287 h 3377474"/>
              <a:gd name="connsiteX16" fmla="*/ 307100 w 3377474"/>
              <a:gd name="connsiteY16" fmla="*/ 1074694 h 3377474"/>
              <a:gd name="connsiteX17" fmla="*/ 2609881 w 3377474"/>
              <a:gd name="connsiteY17" fmla="*/ 448297 h 3377474"/>
              <a:gd name="connsiteX18" fmla="*/ 460494 w 3377474"/>
              <a:gd name="connsiteY18" fmla="*/ 1080479 h 3377474"/>
              <a:gd name="connsiteX19" fmla="*/ 460494 w 3377474"/>
              <a:gd name="connsiteY19" fmla="*/ 1836502 h 3377474"/>
              <a:gd name="connsiteX20" fmla="*/ 2609881 w 3377474"/>
              <a:gd name="connsiteY20" fmla="*/ 2468683 h 3377474"/>
              <a:gd name="connsiteX21" fmla="*/ 2609881 w 3377474"/>
              <a:gd name="connsiteY21" fmla="*/ 448297 h 3377474"/>
              <a:gd name="connsiteX22" fmla="*/ 2840206 w 3377474"/>
              <a:gd name="connsiteY22" fmla="*/ 153550 h 3377474"/>
              <a:gd name="connsiteX23" fmla="*/ 2763431 w 3377474"/>
              <a:gd name="connsiteY23" fmla="*/ 230325 h 3377474"/>
              <a:gd name="connsiteX24" fmla="*/ 2763431 w 3377474"/>
              <a:gd name="connsiteY24" fmla="*/ 2686656 h 3377474"/>
              <a:gd name="connsiteX25" fmla="*/ 2840206 w 3377474"/>
              <a:gd name="connsiteY25" fmla="*/ 2763431 h 3377474"/>
              <a:gd name="connsiteX26" fmla="*/ 2916981 w 3377474"/>
              <a:gd name="connsiteY26" fmla="*/ 2686656 h 3377474"/>
              <a:gd name="connsiteX27" fmla="*/ 2916981 w 3377474"/>
              <a:gd name="connsiteY27" fmla="*/ 230325 h 3377474"/>
              <a:gd name="connsiteX28" fmla="*/ 2840206 w 3377474"/>
              <a:gd name="connsiteY28" fmla="*/ 153550 h 3377474"/>
              <a:gd name="connsiteX29" fmla="*/ 2840206 w 3377474"/>
              <a:gd name="connsiteY29" fmla="*/ 0 h 3377474"/>
              <a:gd name="connsiteX30" fmla="*/ 3070374 w 3377474"/>
              <a:gd name="connsiteY30" fmla="*/ 230325 h 3377474"/>
              <a:gd name="connsiteX31" fmla="*/ 3070374 w 3377474"/>
              <a:gd name="connsiteY31" fmla="*/ 997919 h 3377474"/>
              <a:gd name="connsiteX32" fmla="*/ 3377474 w 3377474"/>
              <a:gd name="connsiteY32" fmla="*/ 1304862 h 3377474"/>
              <a:gd name="connsiteX33" fmla="*/ 3377474 w 3377474"/>
              <a:gd name="connsiteY33" fmla="*/ 1611962 h 3377474"/>
              <a:gd name="connsiteX34" fmla="*/ 3070374 w 3377474"/>
              <a:gd name="connsiteY34" fmla="*/ 1919062 h 3377474"/>
              <a:gd name="connsiteX35" fmla="*/ 3070374 w 3377474"/>
              <a:gd name="connsiteY35" fmla="*/ 2686656 h 3377474"/>
              <a:gd name="connsiteX36" fmla="*/ 2840206 w 3377474"/>
              <a:gd name="connsiteY36" fmla="*/ 2916981 h 3377474"/>
              <a:gd name="connsiteX37" fmla="*/ 2609881 w 3377474"/>
              <a:gd name="connsiteY37" fmla="*/ 2686656 h 3377474"/>
              <a:gd name="connsiteX38" fmla="*/ 2609881 w 3377474"/>
              <a:gd name="connsiteY38" fmla="*/ 2628801 h 3377474"/>
              <a:gd name="connsiteX39" fmla="*/ 1289851 w 3377474"/>
              <a:gd name="connsiteY39" fmla="*/ 2240548 h 3377474"/>
              <a:gd name="connsiteX40" fmla="*/ 1533311 w 3377474"/>
              <a:gd name="connsiteY40" fmla="*/ 3284124 h 3377474"/>
              <a:gd name="connsiteX41" fmla="*/ 1531904 w 3377474"/>
              <a:gd name="connsiteY41" fmla="*/ 3284437 h 3377474"/>
              <a:gd name="connsiteX42" fmla="*/ 1535187 w 3377474"/>
              <a:gd name="connsiteY42" fmla="*/ 3300699 h 3377474"/>
              <a:gd name="connsiteX43" fmla="*/ 1458412 w 3377474"/>
              <a:gd name="connsiteY43" fmla="*/ 3377474 h 3377474"/>
              <a:gd name="connsiteX44" fmla="*/ 844369 w 3377474"/>
              <a:gd name="connsiteY44" fmla="*/ 3377474 h 3377474"/>
              <a:gd name="connsiteX45" fmla="*/ 770878 w 3377474"/>
              <a:gd name="connsiteY45" fmla="*/ 3317117 h 3377474"/>
              <a:gd name="connsiteX46" fmla="*/ 769470 w 3377474"/>
              <a:gd name="connsiteY46" fmla="*/ 3317430 h 3377474"/>
              <a:gd name="connsiteX47" fmla="*/ 476912 w 3377474"/>
              <a:gd name="connsiteY47" fmla="*/ 2001310 h 3377474"/>
              <a:gd name="connsiteX48" fmla="*/ 384344 w 3377474"/>
              <a:gd name="connsiteY48" fmla="*/ 1974259 h 3377474"/>
              <a:gd name="connsiteX49" fmla="*/ 307100 w 3377474"/>
              <a:gd name="connsiteY49" fmla="*/ 1995837 h 3377474"/>
              <a:gd name="connsiteX50" fmla="*/ 153550 w 3377474"/>
              <a:gd name="connsiteY50" fmla="*/ 1995837 h 3377474"/>
              <a:gd name="connsiteX51" fmla="*/ 0 w 3377474"/>
              <a:gd name="connsiteY51" fmla="*/ 1842287 h 3377474"/>
              <a:gd name="connsiteX52" fmla="*/ 0 w 3377474"/>
              <a:gd name="connsiteY52" fmla="*/ 1074694 h 3377474"/>
              <a:gd name="connsiteX53" fmla="*/ 153550 w 3377474"/>
              <a:gd name="connsiteY53" fmla="*/ 921144 h 3377474"/>
              <a:gd name="connsiteX54" fmla="*/ 307100 w 3377474"/>
              <a:gd name="connsiteY54" fmla="*/ 921144 h 3377474"/>
              <a:gd name="connsiteX55" fmla="*/ 384501 w 3377474"/>
              <a:gd name="connsiteY55" fmla="*/ 942878 h 3377474"/>
              <a:gd name="connsiteX56" fmla="*/ 2609881 w 3377474"/>
              <a:gd name="connsiteY56" fmla="*/ 288336 h 3377474"/>
              <a:gd name="connsiteX57" fmla="*/ 2609881 w 3377474"/>
              <a:gd name="connsiteY57" fmla="*/ 230325 h 3377474"/>
              <a:gd name="connsiteX58" fmla="*/ 2840206 w 3377474"/>
              <a:gd name="connsiteY58" fmla="*/ 0 h 33774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</a:cxnLst>
            <a:rect l="l" t="t" r="r" b="b"/>
            <a:pathLst>
              <a:path w="3377474" h="3377474">
                <a:moveTo>
                  <a:pt x="871889" y="3070374"/>
                </a:moveTo>
                <a:lnTo>
                  <a:pt x="905976" y="3223924"/>
                </a:lnTo>
                <a:lnTo>
                  <a:pt x="1361779" y="3223924"/>
                </a:lnTo>
                <a:cubicBezTo>
                  <a:pt x="1361779" y="3223924"/>
                  <a:pt x="1325815" y="3070374"/>
                  <a:pt x="1325815" y="3070374"/>
                </a:cubicBezTo>
                <a:close/>
                <a:moveTo>
                  <a:pt x="645160" y="2050877"/>
                </a:moveTo>
                <a:lnTo>
                  <a:pt x="837645" y="2916981"/>
                </a:lnTo>
                <a:lnTo>
                  <a:pt x="1290164" y="2916981"/>
                </a:lnTo>
                <a:cubicBezTo>
                  <a:pt x="1290164" y="2916981"/>
                  <a:pt x="1120665" y="2190667"/>
                  <a:pt x="1120665" y="2190667"/>
                </a:cubicBezTo>
                <a:close/>
                <a:moveTo>
                  <a:pt x="3070374" y="1151469"/>
                </a:moveTo>
                <a:lnTo>
                  <a:pt x="3070374" y="1765512"/>
                </a:lnTo>
                <a:cubicBezTo>
                  <a:pt x="3155280" y="1765512"/>
                  <a:pt x="3223924" y="1696712"/>
                  <a:pt x="3223924" y="1611962"/>
                </a:cubicBezTo>
                <a:cubicBezTo>
                  <a:pt x="3223924" y="1611962"/>
                  <a:pt x="3223924" y="1304862"/>
                  <a:pt x="3223924" y="1304862"/>
                </a:cubicBezTo>
                <a:cubicBezTo>
                  <a:pt x="3223924" y="1220269"/>
                  <a:pt x="3155280" y="1151469"/>
                  <a:pt x="3070374" y="1151469"/>
                </a:cubicBezTo>
                <a:close/>
                <a:moveTo>
                  <a:pt x="153550" y="1074694"/>
                </a:moveTo>
                <a:lnTo>
                  <a:pt x="153550" y="1842287"/>
                </a:lnTo>
                <a:lnTo>
                  <a:pt x="307100" y="1842287"/>
                </a:lnTo>
                <a:cubicBezTo>
                  <a:pt x="307100" y="1842287"/>
                  <a:pt x="307100" y="1074694"/>
                  <a:pt x="307100" y="1074694"/>
                </a:cubicBezTo>
                <a:close/>
                <a:moveTo>
                  <a:pt x="2609881" y="448297"/>
                </a:moveTo>
                <a:lnTo>
                  <a:pt x="460494" y="1080479"/>
                </a:lnTo>
                <a:lnTo>
                  <a:pt x="460494" y="1836502"/>
                </a:lnTo>
                <a:lnTo>
                  <a:pt x="2609881" y="2468683"/>
                </a:lnTo>
                <a:cubicBezTo>
                  <a:pt x="2609881" y="2468683"/>
                  <a:pt x="2609881" y="448297"/>
                  <a:pt x="2609881" y="448297"/>
                </a:cubicBezTo>
                <a:close/>
                <a:moveTo>
                  <a:pt x="2840206" y="153550"/>
                </a:moveTo>
                <a:cubicBezTo>
                  <a:pt x="2797831" y="153550"/>
                  <a:pt x="2763431" y="187950"/>
                  <a:pt x="2763431" y="230325"/>
                </a:cubicBezTo>
                <a:lnTo>
                  <a:pt x="2763431" y="2686656"/>
                </a:lnTo>
                <a:cubicBezTo>
                  <a:pt x="2763431" y="2729030"/>
                  <a:pt x="2797831" y="2763431"/>
                  <a:pt x="2840206" y="2763431"/>
                </a:cubicBezTo>
                <a:cubicBezTo>
                  <a:pt x="2882424" y="2763431"/>
                  <a:pt x="2916981" y="2729030"/>
                  <a:pt x="2916981" y="2686656"/>
                </a:cubicBezTo>
                <a:cubicBezTo>
                  <a:pt x="2916981" y="2686656"/>
                  <a:pt x="2916981" y="230325"/>
                  <a:pt x="2916981" y="230325"/>
                </a:cubicBezTo>
                <a:cubicBezTo>
                  <a:pt x="2916981" y="187950"/>
                  <a:pt x="2882424" y="153550"/>
                  <a:pt x="2840206" y="153550"/>
                </a:cubicBezTo>
                <a:close/>
                <a:moveTo>
                  <a:pt x="2840206" y="0"/>
                </a:moveTo>
                <a:cubicBezTo>
                  <a:pt x="2967330" y="0"/>
                  <a:pt x="3070374" y="103201"/>
                  <a:pt x="3070374" y="230325"/>
                </a:cubicBezTo>
                <a:lnTo>
                  <a:pt x="3070374" y="997919"/>
                </a:lnTo>
                <a:cubicBezTo>
                  <a:pt x="3240030" y="997919"/>
                  <a:pt x="3377474" y="1135363"/>
                  <a:pt x="3377474" y="1304862"/>
                </a:cubicBezTo>
                <a:lnTo>
                  <a:pt x="3377474" y="1611962"/>
                </a:lnTo>
                <a:cubicBezTo>
                  <a:pt x="3377474" y="1781618"/>
                  <a:pt x="3240030" y="1919062"/>
                  <a:pt x="3070374" y="1919062"/>
                </a:cubicBezTo>
                <a:lnTo>
                  <a:pt x="3070374" y="2686656"/>
                </a:lnTo>
                <a:cubicBezTo>
                  <a:pt x="3070374" y="2813936"/>
                  <a:pt x="2967330" y="2916981"/>
                  <a:pt x="2840206" y="2916981"/>
                </a:cubicBezTo>
                <a:cubicBezTo>
                  <a:pt x="2712925" y="2916981"/>
                  <a:pt x="2609881" y="2813936"/>
                  <a:pt x="2609881" y="2686656"/>
                </a:cubicBezTo>
                <a:lnTo>
                  <a:pt x="2609881" y="2628801"/>
                </a:lnTo>
                <a:lnTo>
                  <a:pt x="1289851" y="2240548"/>
                </a:lnTo>
                <a:lnTo>
                  <a:pt x="1533311" y="3284124"/>
                </a:lnTo>
                <a:lnTo>
                  <a:pt x="1531904" y="3284437"/>
                </a:lnTo>
                <a:cubicBezTo>
                  <a:pt x="1533154" y="3289754"/>
                  <a:pt x="1535187" y="3295070"/>
                  <a:pt x="1535187" y="3300699"/>
                </a:cubicBezTo>
                <a:cubicBezTo>
                  <a:pt x="1535187" y="3343074"/>
                  <a:pt x="1500787" y="3377474"/>
                  <a:pt x="1458412" y="3377474"/>
                </a:cubicBezTo>
                <a:lnTo>
                  <a:pt x="844369" y="3377474"/>
                </a:lnTo>
                <a:cubicBezTo>
                  <a:pt x="807779" y="3377474"/>
                  <a:pt x="778696" y="3351361"/>
                  <a:pt x="770878" y="3317117"/>
                </a:cubicBezTo>
                <a:lnTo>
                  <a:pt x="769470" y="3317430"/>
                </a:lnTo>
                <a:lnTo>
                  <a:pt x="476912" y="2001310"/>
                </a:lnTo>
                <a:lnTo>
                  <a:pt x="384344" y="1974259"/>
                </a:lnTo>
                <a:cubicBezTo>
                  <a:pt x="361671" y="1987550"/>
                  <a:pt x="335402" y="1995837"/>
                  <a:pt x="307100" y="1995837"/>
                </a:cubicBezTo>
                <a:lnTo>
                  <a:pt x="153550" y="1995837"/>
                </a:lnTo>
                <a:cubicBezTo>
                  <a:pt x="68801" y="1995837"/>
                  <a:pt x="0" y="1927037"/>
                  <a:pt x="0" y="1842287"/>
                </a:cubicBezTo>
                <a:lnTo>
                  <a:pt x="0" y="1074694"/>
                </a:lnTo>
                <a:cubicBezTo>
                  <a:pt x="0" y="989944"/>
                  <a:pt x="68801" y="921144"/>
                  <a:pt x="153550" y="921144"/>
                </a:cubicBezTo>
                <a:lnTo>
                  <a:pt x="307100" y="921144"/>
                </a:lnTo>
                <a:cubicBezTo>
                  <a:pt x="335402" y="921144"/>
                  <a:pt x="361671" y="929431"/>
                  <a:pt x="384501" y="942878"/>
                </a:cubicBezTo>
                <a:lnTo>
                  <a:pt x="2609881" y="288336"/>
                </a:lnTo>
                <a:lnTo>
                  <a:pt x="2609881" y="230325"/>
                </a:lnTo>
                <a:cubicBezTo>
                  <a:pt x="2609881" y="103201"/>
                  <a:pt x="2712925" y="0"/>
                  <a:pt x="2840206" y="0"/>
                </a:cubicBezTo>
                <a:close/>
              </a:path>
            </a:pathLst>
          </a:cu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</p:spTree>
    <p:extLst>
      <p:ext uri="{BB962C8B-B14F-4D97-AF65-F5344CB8AC3E}">
        <p14:creationId xmlns:p14="http://schemas.microsoft.com/office/powerpoint/2010/main" val="11027132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432">
          <p15:clr>
            <a:srgbClr val="FBAE40"/>
          </p15:clr>
        </p15:guide>
        <p15:guide id="3" pos="7248">
          <p15:clr>
            <a:srgbClr val="FBAE40"/>
          </p15:clr>
        </p15:guide>
        <p15:guide id="4" orient="horz" pos="432">
          <p15:clr>
            <a:srgbClr val="FBAE40"/>
          </p15:clr>
        </p15:guide>
        <p15:guide id="5" orient="horz" pos="3888">
          <p15:clr>
            <a:srgbClr val="FBAE40"/>
          </p15:clr>
        </p15:guide>
        <p15:guide id="6" pos="3840">
          <p15:clr>
            <a:srgbClr val="FBAE40"/>
          </p15:clr>
        </p15:guide>
        <p15:guide id="7" pos="1128">
          <p15:clr>
            <a:srgbClr val="FBAE40"/>
          </p15:clr>
        </p15:guide>
        <p15:guide id="8" pos="6552">
          <p15:clr>
            <a:srgbClr val="FBAE40"/>
          </p15:clr>
        </p15:guide>
        <p15:guide id="9" orient="horz" pos="1944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Title 64"/>
          <p:cNvSpPr>
            <a:spLocks noGrp="1"/>
          </p:cNvSpPr>
          <p:nvPr>
            <p:ph type="title"/>
          </p:nvPr>
        </p:nvSpPr>
        <p:spPr>
          <a:xfrm>
            <a:off x="1790700" y="1042859"/>
            <a:ext cx="8610600" cy="495486"/>
          </a:xfrm>
          <a:prstGeom prst="rect">
            <a:avLst/>
          </a:prstGeom>
        </p:spPr>
        <p:txBody>
          <a:bodyPr/>
          <a:lstStyle>
            <a:lvl1pPr algn="ctr">
              <a:defRPr sz="32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3" name="Group 2"/>
          <p:cNvGrpSpPr/>
          <p:nvPr userDrawn="1"/>
        </p:nvGrpSpPr>
        <p:grpSpPr>
          <a:xfrm>
            <a:off x="685800" y="685800"/>
            <a:ext cx="457200" cy="149901"/>
            <a:chOff x="685800" y="1144249"/>
            <a:chExt cx="457200" cy="149901"/>
          </a:xfrm>
        </p:grpSpPr>
        <p:sp>
          <p:nvSpPr>
            <p:cNvPr id="4" name="Rectangle 3"/>
            <p:cNvSpPr/>
            <p:nvPr userDrawn="1"/>
          </p:nvSpPr>
          <p:spPr>
            <a:xfrm>
              <a:off x="685800" y="1144249"/>
              <a:ext cx="18288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" name="Rectangle 4"/>
            <p:cNvSpPr/>
            <p:nvPr userDrawn="1"/>
          </p:nvSpPr>
          <p:spPr>
            <a:xfrm>
              <a:off x="914400" y="1144249"/>
              <a:ext cx="4572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" name="Rectangle 5"/>
            <p:cNvSpPr/>
            <p:nvPr userDrawn="1"/>
          </p:nvSpPr>
          <p:spPr>
            <a:xfrm>
              <a:off x="1005840" y="1144249"/>
              <a:ext cx="4572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" name="Rectangle 6"/>
            <p:cNvSpPr/>
            <p:nvPr userDrawn="1"/>
          </p:nvSpPr>
          <p:spPr>
            <a:xfrm>
              <a:off x="685800" y="1244183"/>
              <a:ext cx="18288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" name="Rectangle 7"/>
            <p:cNvSpPr/>
            <p:nvPr userDrawn="1"/>
          </p:nvSpPr>
          <p:spPr>
            <a:xfrm>
              <a:off x="914400" y="1244183"/>
              <a:ext cx="4572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1005840" y="1244183"/>
              <a:ext cx="4572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Rectangle 9"/>
            <p:cNvSpPr/>
            <p:nvPr userDrawn="1"/>
          </p:nvSpPr>
          <p:spPr>
            <a:xfrm>
              <a:off x="1097280" y="1244183"/>
              <a:ext cx="4572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11" name="Group 10"/>
          <p:cNvGrpSpPr/>
          <p:nvPr userDrawn="1"/>
        </p:nvGrpSpPr>
        <p:grpSpPr>
          <a:xfrm rot="10800000">
            <a:off x="11369040" y="685800"/>
            <a:ext cx="137160" cy="149901"/>
            <a:chOff x="1005840" y="1144249"/>
            <a:chExt cx="137160" cy="149901"/>
          </a:xfrm>
        </p:grpSpPr>
        <p:sp>
          <p:nvSpPr>
            <p:cNvPr id="12" name="Rectangle 11"/>
            <p:cNvSpPr/>
            <p:nvPr userDrawn="1"/>
          </p:nvSpPr>
          <p:spPr>
            <a:xfrm>
              <a:off x="1005840" y="1144249"/>
              <a:ext cx="4572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Rectangle 12"/>
            <p:cNvSpPr/>
            <p:nvPr userDrawn="1"/>
          </p:nvSpPr>
          <p:spPr>
            <a:xfrm>
              <a:off x="1005840" y="1244183"/>
              <a:ext cx="4572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1097280" y="1244183"/>
              <a:ext cx="4572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15" name="Group 14"/>
          <p:cNvGrpSpPr/>
          <p:nvPr userDrawn="1"/>
        </p:nvGrpSpPr>
        <p:grpSpPr>
          <a:xfrm rot="10800000">
            <a:off x="11369040" y="6122233"/>
            <a:ext cx="137160" cy="49967"/>
            <a:chOff x="1005840" y="1244183"/>
            <a:chExt cx="137160" cy="49967"/>
          </a:xfrm>
        </p:grpSpPr>
        <p:sp>
          <p:nvSpPr>
            <p:cNvPr id="16" name="Rectangle 15"/>
            <p:cNvSpPr/>
            <p:nvPr userDrawn="1"/>
          </p:nvSpPr>
          <p:spPr>
            <a:xfrm>
              <a:off x="1005840" y="1244183"/>
              <a:ext cx="4572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7" name="Rectangle 16"/>
            <p:cNvSpPr/>
            <p:nvPr userDrawn="1"/>
          </p:nvSpPr>
          <p:spPr>
            <a:xfrm>
              <a:off x="1097280" y="1244183"/>
              <a:ext cx="4572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8" name="TextBox 17"/>
          <p:cNvSpPr txBox="1"/>
          <p:nvPr userDrawn="1"/>
        </p:nvSpPr>
        <p:spPr>
          <a:xfrm>
            <a:off x="594015" y="5991924"/>
            <a:ext cx="36740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260E2A6B-A809-4840-BF14-8648BC0BDF87}" type="slidenum">
              <a:rPr lang="id-ID" sz="1200" b="1" i="0">
                <a:solidFill>
                  <a:srgbClr val="000000"/>
                </a:solidFill>
                <a:latin typeface="Titillium" charset="0"/>
                <a:ea typeface="Titillium" charset="0"/>
                <a:cs typeface="Titillium" charset="0"/>
              </a:rPr>
              <a:pPr algn="l"/>
              <a:t>‹nº›</a:t>
            </a:fld>
            <a:endParaRPr lang="en-MY" sz="1200" b="1" i="0" dirty="0">
              <a:solidFill>
                <a:srgbClr val="000000"/>
              </a:solidFill>
              <a:latin typeface="Titillium" charset="0"/>
              <a:ea typeface="Titillium" charset="0"/>
              <a:cs typeface="Titillium" charset="0"/>
            </a:endParaRPr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9000"/>
            <a:ext cx="3045940" cy="2142678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  <p:sp>
        <p:nvSpPr>
          <p:cNvPr id="20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3050060" y="3429000"/>
            <a:ext cx="3045940" cy="2142678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  <p:sp>
        <p:nvSpPr>
          <p:cNvPr id="21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3429000"/>
            <a:ext cx="3045940" cy="2142678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  <p:sp>
        <p:nvSpPr>
          <p:cNvPr id="22" name="Picture Placeholder 2"/>
          <p:cNvSpPr>
            <a:spLocks noGrp="1"/>
          </p:cNvSpPr>
          <p:nvPr>
            <p:ph type="pic" sz="quarter" idx="15" hasCustomPrompt="1"/>
          </p:nvPr>
        </p:nvSpPr>
        <p:spPr>
          <a:xfrm>
            <a:off x="9141940" y="3429000"/>
            <a:ext cx="3045940" cy="2142678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</p:spTree>
    <p:extLst>
      <p:ext uri="{BB962C8B-B14F-4D97-AF65-F5344CB8AC3E}">
        <p14:creationId xmlns:p14="http://schemas.microsoft.com/office/powerpoint/2010/main" val="5567072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432">
          <p15:clr>
            <a:srgbClr val="FBAE40"/>
          </p15:clr>
        </p15:guide>
        <p15:guide id="3" pos="7248">
          <p15:clr>
            <a:srgbClr val="FBAE40"/>
          </p15:clr>
        </p15:guide>
        <p15:guide id="4" orient="horz" pos="432">
          <p15:clr>
            <a:srgbClr val="FBAE40"/>
          </p15:clr>
        </p15:guide>
        <p15:guide id="5" orient="horz" pos="3888">
          <p15:clr>
            <a:srgbClr val="FBAE40"/>
          </p15:clr>
        </p15:guide>
        <p15:guide id="6" pos="3840">
          <p15:clr>
            <a:srgbClr val="FBAE40"/>
          </p15:clr>
        </p15:guide>
        <p15:guide id="7" pos="1128">
          <p15:clr>
            <a:srgbClr val="FBAE40"/>
          </p15:clr>
        </p15:guide>
        <p15:guide id="8" pos="6552">
          <p15:clr>
            <a:srgbClr val="FBAE40"/>
          </p15:clr>
        </p15:guide>
        <p15:guide id="9" orient="horz" pos="1944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Title 64"/>
          <p:cNvSpPr>
            <a:spLocks noGrp="1"/>
          </p:cNvSpPr>
          <p:nvPr>
            <p:ph type="title"/>
          </p:nvPr>
        </p:nvSpPr>
        <p:spPr>
          <a:xfrm>
            <a:off x="1790700" y="1042859"/>
            <a:ext cx="8610600" cy="495486"/>
          </a:xfrm>
          <a:prstGeom prst="rect">
            <a:avLst/>
          </a:prstGeom>
        </p:spPr>
        <p:txBody>
          <a:bodyPr/>
          <a:lstStyle>
            <a:lvl1pPr algn="ctr">
              <a:defRPr sz="32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3" name="Group 2"/>
          <p:cNvGrpSpPr/>
          <p:nvPr userDrawn="1"/>
        </p:nvGrpSpPr>
        <p:grpSpPr>
          <a:xfrm>
            <a:off x="685800" y="685800"/>
            <a:ext cx="457200" cy="149901"/>
            <a:chOff x="685800" y="1144249"/>
            <a:chExt cx="457200" cy="149901"/>
          </a:xfrm>
        </p:grpSpPr>
        <p:sp>
          <p:nvSpPr>
            <p:cNvPr id="4" name="Rectangle 3"/>
            <p:cNvSpPr/>
            <p:nvPr userDrawn="1"/>
          </p:nvSpPr>
          <p:spPr>
            <a:xfrm>
              <a:off x="685800" y="1144249"/>
              <a:ext cx="18288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" name="Rectangle 4"/>
            <p:cNvSpPr/>
            <p:nvPr userDrawn="1"/>
          </p:nvSpPr>
          <p:spPr>
            <a:xfrm>
              <a:off x="914400" y="1144249"/>
              <a:ext cx="4572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" name="Rectangle 5"/>
            <p:cNvSpPr/>
            <p:nvPr userDrawn="1"/>
          </p:nvSpPr>
          <p:spPr>
            <a:xfrm>
              <a:off x="1005840" y="1144249"/>
              <a:ext cx="4572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" name="Rectangle 6"/>
            <p:cNvSpPr/>
            <p:nvPr userDrawn="1"/>
          </p:nvSpPr>
          <p:spPr>
            <a:xfrm>
              <a:off x="685800" y="1244183"/>
              <a:ext cx="18288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" name="Rectangle 7"/>
            <p:cNvSpPr/>
            <p:nvPr userDrawn="1"/>
          </p:nvSpPr>
          <p:spPr>
            <a:xfrm>
              <a:off x="914400" y="1244183"/>
              <a:ext cx="4572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1005840" y="1244183"/>
              <a:ext cx="4572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Rectangle 9"/>
            <p:cNvSpPr/>
            <p:nvPr userDrawn="1"/>
          </p:nvSpPr>
          <p:spPr>
            <a:xfrm>
              <a:off x="1097280" y="1244183"/>
              <a:ext cx="4572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11" name="Group 10"/>
          <p:cNvGrpSpPr/>
          <p:nvPr userDrawn="1"/>
        </p:nvGrpSpPr>
        <p:grpSpPr>
          <a:xfrm rot="10800000">
            <a:off x="11369040" y="685800"/>
            <a:ext cx="137160" cy="149901"/>
            <a:chOff x="1005840" y="1144249"/>
            <a:chExt cx="137160" cy="149901"/>
          </a:xfrm>
        </p:grpSpPr>
        <p:sp>
          <p:nvSpPr>
            <p:cNvPr id="12" name="Rectangle 11"/>
            <p:cNvSpPr/>
            <p:nvPr userDrawn="1"/>
          </p:nvSpPr>
          <p:spPr>
            <a:xfrm>
              <a:off x="1005840" y="1144249"/>
              <a:ext cx="4572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Rectangle 12"/>
            <p:cNvSpPr/>
            <p:nvPr userDrawn="1"/>
          </p:nvSpPr>
          <p:spPr>
            <a:xfrm>
              <a:off x="1005840" y="1244183"/>
              <a:ext cx="4572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1097280" y="1244183"/>
              <a:ext cx="4572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9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4102443"/>
            <a:ext cx="12191999" cy="2755557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</p:spTree>
    <p:extLst>
      <p:ext uri="{BB962C8B-B14F-4D97-AF65-F5344CB8AC3E}">
        <p14:creationId xmlns:p14="http://schemas.microsoft.com/office/powerpoint/2010/main" val="1302427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432">
          <p15:clr>
            <a:srgbClr val="FBAE40"/>
          </p15:clr>
        </p15:guide>
        <p15:guide id="3" pos="7248">
          <p15:clr>
            <a:srgbClr val="FBAE40"/>
          </p15:clr>
        </p15:guide>
        <p15:guide id="4" orient="horz" pos="432">
          <p15:clr>
            <a:srgbClr val="FBAE40"/>
          </p15:clr>
        </p15:guide>
        <p15:guide id="5" orient="horz" pos="3888">
          <p15:clr>
            <a:srgbClr val="FBAE40"/>
          </p15:clr>
        </p15:guide>
        <p15:guide id="6" pos="3840">
          <p15:clr>
            <a:srgbClr val="FBAE40"/>
          </p15:clr>
        </p15:guide>
        <p15:guide id="7" pos="1128">
          <p15:clr>
            <a:srgbClr val="FBAE40"/>
          </p15:clr>
        </p15:guide>
        <p15:guide id="8" pos="6552">
          <p15:clr>
            <a:srgbClr val="FBAE40"/>
          </p15:clr>
        </p15:guide>
        <p15:guide id="9" orient="horz" pos="1944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Title 64"/>
          <p:cNvSpPr>
            <a:spLocks noGrp="1"/>
          </p:cNvSpPr>
          <p:nvPr>
            <p:ph type="title"/>
          </p:nvPr>
        </p:nvSpPr>
        <p:spPr>
          <a:xfrm>
            <a:off x="1790700" y="1042859"/>
            <a:ext cx="8610600" cy="495486"/>
          </a:xfrm>
          <a:prstGeom prst="rect">
            <a:avLst/>
          </a:prstGeom>
        </p:spPr>
        <p:txBody>
          <a:bodyPr/>
          <a:lstStyle>
            <a:lvl1pPr algn="ctr">
              <a:defRPr sz="32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82146" y="3626068"/>
            <a:ext cx="2827708" cy="5764926"/>
          </a:xfrm>
          <a:prstGeom prst="rect">
            <a:avLst/>
          </a:prstGeom>
        </p:spPr>
      </p:pic>
      <p:sp>
        <p:nvSpPr>
          <p:cNvPr id="4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4867207" y="4357948"/>
            <a:ext cx="2452498" cy="4335609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</p:spTree>
    <p:extLst>
      <p:ext uri="{BB962C8B-B14F-4D97-AF65-F5344CB8AC3E}">
        <p14:creationId xmlns:p14="http://schemas.microsoft.com/office/powerpoint/2010/main" val="13292029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432">
          <p15:clr>
            <a:srgbClr val="FBAE40"/>
          </p15:clr>
        </p15:guide>
        <p15:guide id="3" pos="7248">
          <p15:clr>
            <a:srgbClr val="FBAE40"/>
          </p15:clr>
        </p15:guide>
        <p15:guide id="4" orient="horz" pos="432">
          <p15:clr>
            <a:srgbClr val="FBAE40"/>
          </p15:clr>
        </p15:guide>
        <p15:guide id="5" orient="horz" pos="3888">
          <p15:clr>
            <a:srgbClr val="FBAE40"/>
          </p15:clr>
        </p15:guide>
        <p15:guide id="6" pos="3840">
          <p15:clr>
            <a:srgbClr val="FBAE40"/>
          </p15:clr>
        </p15:guide>
        <p15:guide id="7" pos="1128">
          <p15:clr>
            <a:srgbClr val="FBAE40"/>
          </p15:clr>
        </p15:guide>
        <p15:guide id="8" pos="6552">
          <p15:clr>
            <a:srgbClr val="FBAE40"/>
          </p15:clr>
        </p15:guide>
        <p15:guide id="9" orient="horz" pos="1944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Title 64"/>
          <p:cNvSpPr>
            <a:spLocks noGrp="1"/>
          </p:cNvSpPr>
          <p:nvPr>
            <p:ph type="title"/>
          </p:nvPr>
        </p:nvSpPr>
        <p:spPr>
          <a:xfrm>
            <a:off x="1790700" y="1042859"/>
            <a:ext cx="8610600" cy="495486"/>
          </a:xfrm>
          <a:prstGeom prst="rect">
            <a:avLst/>
          </a:prstGeom>
        </p:spPr>
        <p:txBody>
          <a:bodyPr/>
          <a:lstStyle>
            <a:lvl1pPr algn="ctr">
              <a:defRPr sz="32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7156610" y="2618414"/>
            <a:ext cx="1538402" cy="2730998"/>
          </a:xfrm>
          <a:prstGeom prst="roundRect">
            <a:avLst>
              <a:gd name="adj" fmla="val 0"/>
            </a:avLst>
          </a:prstGeom>
          <a:pattFill prst="pct5">
            <a:fgClr>
              <a:schemeClr val="tx1"/>
            </a:fgClr>
            <a:bgClr>
              <a:schemeClr val="bg1">
                <a:lumMod val="85000"/>
              </a:schemeClr>
            </a:bgClr>
          </a:pattFill>
          <a:effectLst/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 dirty="0"/>
              <a:t>Drag &amp; Drop Image</a:t>
            </a:r>
          </a:p>
        </p:txBody>
      </p:sp>
      <p:sp>
        <p:nvSpPr>
          <p:cNvPr id="6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3496986" y="2618414"/>
            <a:ext cx="1538402" cy="2730998"/>
          </a:xfrm>
          <a:prstGeom prst="roundRect">
            <a:avLst>
              <a:gd name="adj" fmla="val 0"/>
            </a:avLst>
          </a:prstGeom>
          <a:pattFill prst="pct5">
            <a:fgClr>
              <a:schemeClr val="tx1"/>
            </a:fgClr>
            <a:bgClr>
              <a:schemeClr val="bg1">
                <a:lumMod val="85000"/>
              </a:schemeClr>
            </a:bgClr>
          </a:pattFill>
          <a:effectLst/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 dirty="0"/>
              <a:t>Drag &amp; Drop Image</a:t>
            </a:r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1790700" y="2618414"/>
            <a:ext cx="1538402" cy="2730998"/>
          </a:xfrm>
          <a:prstGeom prst="roundRect">
            <a:avLst>
              <a:gd name="adj" fmla="val 0"/>
            </a:avLst>
          </a:prstGeom>
          <a:pattFill prst="pct5">
            <a:fgClr>
              <a:schemeClr val="tx1"/>
            </a:fgClr>
            <a:bgClr>
              <a:schemeClr val="bg1">
                <a:lumMod val="85000"/>
              </a:schemeClr>
            </a:bgClr>
          </a:pattFill>
          <a:effectLst/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 dirty="0"/>
              <a:t>Drag &amp; Drop Image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6" hasCustomPrompt="1"/>
          </p:nvPr>
        </p:nvSpPr>
        <p:spPr>
          <a:xfrm>
            <a:off x="8862898" y="2618414"/>
            <a:ext cx="1538402" cy="2730998"/>
          </a:xfrm>
          <a:prstGeom prst="roundRect">
            <a:avLst>
              <a:gd name="adj" fmla="val 0"/>
            </a:avLst>
          </a:prstGeom>
          <a:pattFill prst="pct5">
            <a:fgClr>
              <a:schemeClr val="tx1"/>
            </a:fgClr>
            <a:bgClr>
              <a:schemeClr val="bg1">
                <a:lumMod val="85000"/>
              </a:schemeClr>
            </a:bgClr>
          </a:pattFill>
          <a:effectLst/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 dirty="0"/>
              <a:t>Drag &amp; Drop Imag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06875" y="2160820"/>
            <a:ext cx="1781850" cy="3632707"/>
          </a:xfrm>
          <a:prstGeom prst="rect">
            <a:avLst/>
          </a:prstGeom>
          <a:effectLst/>
        </p:spPr>
      </p:pic>
      <p:sp>
        <p:nvSpPr>
          <p:cNvPr id="12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5327672" y="2618414"/>
            <a:ext cx="1538402" cy="2730998"/>
          </a:xfrm>
          <a:prstGeom prst="rect">
            <a:avLst/>
          </a:prstGeom>
          <a:pattFill prst="pct5">
            <a:fgClr>
              <a:schemeClr val="tx1"/>
            </a:fgClr>
            <a:bgClr>
              <a:schemeClr val="bg1">
                <a:lumMod val="85000"/>
              </a:schemeClr>
            </a:bgClr>
          </a:pattFill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 dirty="0"/>
              <a:t>Drag &amp; Drop Image</a:t>
            </a:r>
          </a:p>
        </p:txBody>
      </p:sp>
    </p:spTree>
    <p:extLst>
      <p:ext uri="{BB962C8B-B14F-4D97-AF65-F5344CB8AC3E}">
        <p14:creationId xmlns:p14="http://schemas.microsoft.com/office/powerpoint/2010/main" val="21303243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7" grpId="0" animBg="1"/>
      <p:bldP spid="10" grpId="0" animBg="1"/>
    </p:bld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432">
          <p15:clr>
            <a:srgbClr val="FBAE40"/>
          </p15:clr>
        </p15:guide>
        <p15:guide id="3" pos="7248">
          <p15:clr>
            <a:srgbClr val="FBAE40"/>
          </p15:clr>
        </p15:guide>
        <p15:guide id="4" orient="horz" pos="432">
          <p15:clr>
            <a:srgbClr val="FBAE40"/>
          </p15:clr>
        </p15:guide>
        <p15:guide id="5" orient="horz" pos="3888">
          <p15:clr>
            <a:srgbClr val="FBAE40"/>
          </p15:clr>
        </p15:guide>
        <p15:guide id="6" pos="3840">
          <p15:clr>
            <a:srgbClr val="FBAE40"/>
          </p15:clr>
        </p15:guide>
        <p15:guide id="7" pos="1128">
          <p15:clr>
            <a:srgbClr val="FBAE40"/>
          </p15:clr>
        </p15:guide>
        <p15:guide id="8" pos="6552">
          <p15:clr>
            <a:srgbClr val="FBAE40"/>
          </p15:clr>
        </p15:guide>
        <p15:guide id="9" orient="horz" pos="1944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Title 64"/>
          <p:cNvSpPr>
            <a:spLocks noGrp="1"/>
          </p:cNvSpPr>
          <p:nvPr>
            <p:ph type="title"/>
          </p:nvPr>
        </p:nvSpPr>
        <p:spPr>
          <a:xfrm>
            <a:off x="1790700" y="1042859"/>
            <a:ext cx="8610600" cy="495486"/>
          </a:xfrm>
          <a:prstGeom prst="rect">
            <a:avLst/>
          </a:prstGeom>
        </p:spPr>
        <p:txBody>
          <a:bodyPr/>
          <a:lstStyle>
            <a:lvl1pPr algn="ctr">
              <a:defRPr sz="32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3907" y="3536414"/>
            <a:ext cx="2179621" cy="4443652"/>
          </a:xfrm>
          <a:prstGeom prst="rect">
            <a:avLst/>
          </a:prstGeom>
          <a:effectLst/>
        </p:spPr>
      </p:pic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9850" y="3274540"/>
            <a:ext cx="2354068" cy="4679611"/>
          </a:xfrm>
          <a:prstGeom prst="rect">
            <a:avLst/>
          </a:prstGeom>
          <a:effectLst/>
        </p:spPr>
      </p:pic>
      <p:sp>
        <p:nvSpPr>
          <p:cNvPr id="17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6318194" y="4080739"/>
            <a:ext cx="1898127" cy="3362437"/>
          </a:xfrm>
          <a:prstGeom prst="rect">
            <a:avLst/>
          </a:prstGeom>
          <a:pattFill prst="pct5">
            <a:fgClr>
              <a:schemeClr val="tx1"/>
            </a:fgClr>
            <a:bgClr>
              <a:schemeClr val="bg1">
                <a:lumMod val="85000"/>
              </a:schemeClr>
            </a:bgClr>
          </a:pattFill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 dirty="0"/>
              <a:t>Drag &amp; Drop Image</a:t>
            </a:r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3683638" y="3696393"/>
            <a:ext cx="2189830" cy="3887716"/>
          </a:xfrm>
          <a:prstGeom prst="rect">
            <a:avLst/>
          </a:prstGeom>
          <a:pattFill prst="pct5">
            <a:fgClr>
              <a:schemeClr val="tx1"/>
            </a:fgClr>
            <a:bgClr>
              <a:schemeClr val="bg1">
                <a:lumMod val="85000"/>
              </a:schemeClr>
            </a:bgClr>
          </a:pattFill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 dirty="0"/>
              <a:t>Drag &amp; Drop Image</a:t>
            </a:r>
          </a:p>
        </p:txBody>
      </p:sp>
      <p:sp>
        <p:nvSpPr>
          <p:cNvPr id="19" name="Rectangle 18"/>
          <p:cNvSpPr/>
          <p:nvPr userDrawn="1"/>
        </p:nvSpPr>
        <p:spPr>
          <a:xfrm>
            <a:off x="4453989" y="3502568"/>
            <a:ext cx="660400" cy="133927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95481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432">
          <p15:clr>
            <a:srgbClr val="FBAE40"/>
          </p15:clr>
        </p15:guide>
        <p15:guide id="3" pos="7248">
          <p15:clr>
            <a:srgbClr val="FBAE40"/>
          </p15:clr>
        </p15:guide>
        <p15:guide id="4" orient="horz" pos="432">
          <p15:clr>
            <a:srgbClr val="FBAE40"/>
          </p15:clr>
        </p15:guide>
        <p15:guide id="5" orient="horz" pos="3888">
          <p15:clr>
            <a:srgbClr val="FBAE40"/>
          </p15:clr>
        </p15:guide>
        <p15:guide id="6" pos="3840">
          <p15:clr>
            <a:srgbClr val="FBAE40"/>
          </p15:clr>
        </p15:guide>
        <p15:guide id="7" pos="1128">
          <p15:clr>
            <a:srgbClr val="FBAE40"/>
          </p15:clr>
        </p15:guide>
        <p15:guide id="8" pos="6552">
          <p15:clr>
            <a:srgbClr val="FBAE40"/>
          </p15:clr>
        </p15:guide>
        <p15:guide id="9" orient="horz" pos="1920" userDrawn="1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8342" y="-963827"/>
            <a:ext cx="5339879" cy="9127998"/>
          </a:xfrm>
          <a:prstGeom prst="rect">
            <a:avLst/>
          </a:prstGeom>
          <a:effectLst/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71386" y="1289623"/>
            <a:ext cx="1942648" cy="3960529"/>
          </a:xfrm>
          <a:prstGeom prst="rect">
            <a:avLst/>
          </a:prstGeom>
          <a:effectLst/>
        </p:spPr>
      </p:pic>
      <p:sp>
        <p:nvSpPr>
          <p:cNvPr id="12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3069988" y="1776397"/>
            <a:ext cx="1727361" cy="3007952"/>
          </a:xfrm>
          <a:prstGeom prst="rect">
            <a:avLst/>
          </a:prstGeom>
          <a:pattFill prst="pct5">
            <a:fgClr>
              <a:schemeClr val="tx1"/>
            </a:fgClr>
            <a:bgClr>
              <a:schemeClr val="bg1">
                <a:lumMod val="85000"/>
              </a:schemeClr>
            </a:bgClr>
          </a:pattFill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 dirty="0"/>
              <a:t>Drag &amp; Drop Image</a:t>
            </a:r>
          </a:p>
        </p:txBody>
      </p:sp>
    </p:spTree>
    <p:extLst>
      <p:ext uri="{BB962C8B-B14F-4D97-AF65-F5344CB8AC3E}">
        <p14:creationId xmlns:p14="http://schemas.microsoft.com/office/powerpoint/2010/main" val="15177350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432">
          <p15:clr>
            <a:srgbClr val="FBAE40"/>
          </p15:clr>
        </p15:guide>
        <p15:guide id="3" pos="7248">
          <p15:clr>
            <a:srgbClr val="FBAE40"/>
          </p15:clr>
        </p15:guide>
        <p15:guide id="4" orient="horz" pos="432">
          <p15:clr>
            <a:srgbClr val="FBAE40"/>
          </p15:clr>
        </p15:guide>
        <p15:guide id="5" orient="horz" pos="3888">
          <p15:clr>
            <a:srgbClr val="FBAE40"/>
          </p15:clr>
        </p15:guide>
        <p15:guide id="6" pos="3840">
          <p15:clr>
            <a:srgbClr val="FBAE40"/>
          </p15:clr>
        </p15:guide>
        <p15:guide id="7" pos="1128">
          <p15:clr>
            <a:srgbClr val="FBAE40"/>
          </p15:clr>
        </p15:guide>
        <p15:guide id="8" pos="6552">
          <p15:clr>
            <a:srgbClr val="FBAE40"/>
          </p15:clr>
        </p15:guide>
        <p15:guide id="9" orient="horz" pos="1920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3300984" y="4215384"/>
            <a:ext cx="2093976" cy="3721608"/>
          </a:xfrm>
          <a:prstGeom prst="rect">
            <a:avLst/>
          </a:prstGeom>
          <a:pattFill prst="pct5">
            <a:fgClr>
              <a:schemeClr val="tx1"/>
            </a:fgClr>
            <a:bgClr>
              <a:schemeClr val="bg1">
                <a:lumMod val="85000"/>
              </a:schemeClr>
            </a:bgClr>
          </a:pattFill>
          <a:effectLst/>
          <a:scene3d>
            <a:camera prst="orthographicFront">
              <a:rot lat="2400000" lon="2400000" rev="3600000"/>
            </a:camera>
            <a:lightRig rig="threePt" dir="t"/>
          </a:scene3d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 dirty="0"/>
              <a:t>Drag &amp; Drop Image</a:t>
            </a:r>
          </a:p>
        </p:txBody>
      </p:sp>
      <p:sp>
        <p:nvSpPr>
          <p:cNvPr id="6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5112553" y="3076055"/>
            <a:ext cx="2093976" cy="3721608"/>
          </a:xfrm>
          <a:prstGeom prst="rect">
            <a:avLst/>
          </a:prstGeom>
          <a:pattFill prst="pct5">
            <a:fgClr>
              <a:schemeClr val="tx1"/>
            </a:fgClr>
            <a:bgClr>
              <a:schemeClr val="bg1">
                <a:lumMod val="85000"/>
              </a:schemeClr>
            </a:bgClr>
          </a:pattFill>
          <a:effectLst/>
          <a:scene3d>
            <a:camera prst="orthographicFront">
              <a:rot lat="2400000" lon="2400000" rev="3600000"/>
            </a:camera>
            <a:lightRig rig="threePt" dir="t"/>
          </a:scene3d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 dirty="0"/>
              <a:t>Drag &amp; Drop Image</a:t>
            </a:r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8685085" y="820709"/>
            <a:ext cx="2093976" cy="3721608"/>
          </a:xfrm>
          <a:prstGeom prst="rect">
            <a:avLst/>
          </a:prstGeom>
          <a:pattFill prst="pct5">
            <a:fgClr>
              <a:schemeClr val="tx1"/>
            </a:fgClr>
            <a:bgClr>
              <a:schemeClr val="bg1">
                <a:lumMod val="85000"/>
              </a:schemeClr>
            </a:bgClr>
          </a:pattFill>
          <a:effectLst/>
          <a:scene3d>
            <a:camera prst="orthographicFront">
              <a:rot lat="2400000" lon="2400000" rev="3600000"/>
            </a:camera>
            <a:lightRig rig="threePt" dir="t"/>
          </a:scene3d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 dirty="0"/>
              <a:t>Drag &amp; Drop Image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5" hasCustomPrompt="1"/>
          </p:nvPr>
        </p:nvSpPr>
        <p:spPr>
          <a:xfrm>
            <a:off x="10487042" y="-311247"/>
            <a:ext cx="2093976" cy="3721608"/>
          </a:xfrm>
          <a:prstGeom prst="rect">
            <a:avLst/>
          </a:prstGeom>
          <a:pattFill prst="pct5">
            <a:fgClr>
              <a:schemeClr val="tx1"/>
            </a:fgClr>
            <a:bgClr>
              <a:schemeClr val="bg1">
                <a:lumMod val="85000"/>
              </a:schemeClr>
            </a:bgClr>
          </a:pattFill>
          <a:effectLst/>
          <a:scene3d>
            <a:camera prst="orthographicFront">
              <a:rot lat="2400000" lon="2400000" rev="3600000"/>
            </a:camera>
            <a:lightRig rig="threePt" dir="t"/>
          </a:scene3d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 dirty="0"/>
              <a:t>Drag &amp; Drop Imag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4161" y="2213356"/>
            <a:ext cx="5203862" cy="3360312"/>
          </a:xfrm>
          <a:prstGeom prst="rect">
            <a:avLst/>
          </a:prstGeom>
        </p:spPr>
      </p:pic>
      <p:sp>
        <p:nvSpPr>
          <p:cNvPr id="13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7016275" y="1791063"/>
            <a:ext cx="1901952" cy="3931920"/>
          </a:xfrm>
          <a:prstGeom prst="rect">
            <a:avLst/>
          </a:prstGeom>
          <a:pattFill prst="pct5">
            <a:fgClr>
              <a:schemeClr val="tx1"/>
            </a:fgClr>
            <a:bgClr>
              <a:schemeClr val="bg1">
                <a:lumMod val="85000"/>
              </a:schemeClr>
            </a:bgClr>
          </a:pattFill>
          <a:effectLst/>
          <a:scene3d>
            <a:camera prst="orthographicFront">
              <a:rot lat="2400000" lon="2400000" rev="3630000"/>
            </a:camera>
            <a:lightRig rig="threePt" dir="t"/>
          </a:scene3d>
          <a:sp3d/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 dirty="0"/>
              <a:t>Drag &amp; Drop Image</a:t>
            </a:r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685800" y="685800"/>
            <a:ext cx="457200" cy="149901"/>
            <a:chOff x="685800" y="1144249"/>
            <a:chExt cx="457200" cy="149901"/>
          </a:xfrm>
        </p:grpSpPr>
        <p:sp>
          <p:nvSpPr>
            <p:cNvPr id="15" name="Rectangle 14"/>
            <p:cNvSpPr/>
            <p:nvPr userDrawn="1"/>
          </p:nvSpPr>
          <p:spPr>
            <a:xfrm>
              <a:off x="685800" y="1144249"/>
              <a:ext cx="18288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6" name="Rectangle 15"/>
            <p:cNvSpPr/>
            <p:nvPr userDrawn="1"/>
          </p:nvSpPr>
          <p:spPr>
            <a:xfrm>
              <a:off x="914400" y="1144249"/>
              <a:ext cx="4572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7" name="Rectangle 16"/>
            <p:cNvSpPr/>
            <p:nvPr userDrawn="1"/>
          </p:nvSpPr>
          <p:spPr>
            <a:xfrm>
              <a:off x="1005840" y="1144249"/>
              <a:ext cx="4572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8" name="Rectangle 17"/>
            <p:cNvSpPr/>
            <p:nvPr userDrawn="1"/>
          </p:nvSpPr>
          <p:spPr>
            <a:xfrm>
              <a:off x="685800" y="1244183"/>
              <a:ext cx="18288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9" name="Rectangle 18"/>
            <p:cNvSpPr/>
            <p:nvPr userDrawn="1"/>
          </p:nvSpPr>
          <p:spPr>
            <a:xfrm>
              <a:off x="914400" y="1244183"/>
              <a:ext cx="4572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0" name="Rectangle 19"/>
            <p:cNvSpPr/>
            <p:nvPr userDrawn="1"/>
          </p:nvSpPr>
          <p:spPr>
            <a:xfrm>
              <a:off x="1005840" y="1244183"/>
              <a:ext cx="4572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1" name="Rectangle 20"/>
            <p:cNvSpPr/>
            <p:nvPr userDrawn="1"/>
          </p:nvSpPr>
          <p:spPr>
            <a:xfrm>
              <a:off x="1097280" y="1244183"/>
              <a:ext cx="4572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22" name="Group 21"/>
          <p:cNvGrpSpPr/>
          <p:nvPr userDrawn="1"/>
        </p:nvGrpSpPr>
        <p:grpSpPr>
          <a:xfrm rot="10800000">
            <a:off x="11369040" y="685800"/>
            <a:ext cx="137160" cy="149901"/>
            <a:chOff x="1005840" y="1144249"/>
            <a:chExt cx="137160" cy="149901"/>
          </a:xfrm>
        </p:grpSpPr>
        <p:sp>
          <p:nvSpPr>
            <p:cNvPr id="23" name="Rectangle 22"/>
            <p:cNvSpPr/>
            <p:nvPr userDrawn="1"/>
          </p:nvSpPr>
          <p:spPr>
            <a:xfrm>
              <a:off x="1005840" y="1144249"/>
              <a:ext cx="4572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4" name="Rectangle 23"/>
            <p:cNvSpPr/>
            <p:nvPr userDrawn="1"/>
          </p:nvSpPr>
          <p:spPr>
            <a:xfrm>
              <a:off x="1005840" y="1244183"/>
              <a:ext cx="4572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5" name="Rectangle 24"/>
            <p:cNvSpPr/>
            <p:nvPr userDrawn="1"/>
          </p:nvSpPr>
          <p:spPr>
            <a:xfrm>
              <a:off x="1097280" y="1244183"/>
              <a:ext cx="4572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26" name="Group 25"/>
          <p:cNvGrpSpPr/>
          <p:nvPr userDrawn="1"/>
        </p:nvGrpSpPr>
        <p:grpSpPr>
          <a:xfrm rot="10800000">
            <a:off x="11369040" y="6122233"/>
            <a:ext cx="137160" cy="49967"/>
            <a:chOff x="1005840" y="1244183"/>
            <a:chExt cx="137160" cy="49967"/>
          </a:xfrm>
        </p:grpSpPr>
        <p:sp>
          <p:nvSpPr>
            <p:cNvPr id="27" name="Rectangle 26"/>
            <p:cNvSpPr/>
            <p:nvPr userDrawn="1"/>
          </p:nvSpPr>
          <p:spPr>
            <a:xfrm>
              <a:off x="1005840" y="1244183"/>
              <a:ext cx="4572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8" name="Rectangle 27"/>
            <p:cNvSpPr/>
            <p:nvPr userDrawn="1"/>
          </p:nvSpPr>
          <p:spPr>
            <a:xfrm>
              <a:off x="1097280" y="1244183"/>
              <a:ext cx="4572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29" name="TextBox 28"/>
          <p:cNvSpPr txBox="1"/>
          <p:nvPr userDrawn="1"/>
        </p:nvSpPr>
        <p:spPr>
          <a:xfrm>
            <a:off x="594015" y="5991924"/>
            <a:ext cx="36740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260E2A6B-A809-4840-BF14-8648BC0BDF87}" type="slidenum">
              <a:rPr lang="id-ID" sz="1200" b="1" i="0">
                <a:solidFill>
                  <a:srgbClr val="000000"/>
                </a:solidFill>
                <a:latin typeface="Titillium" charset="0"/>
                <a:ea typeface="Titillium" charset="0"/>
                <a:cs typeface="Titillium" charset="0"/>
              </a:rPr>
              <a:pPr algn="l"/>
              <a:t>‹nº›</a:t>
            </a:fld>
            <a:endParaRPr lang="en-MY" sz="1200" b="1" i="0" dirty="0">
              <a:solidFill>
                <a:srgbClr val="000000"/>
              </a:solidFill>
              <a:latin typeface="Titillium" charset="0"/>
              <a:ea typeface="Titillium" charset="0"/>
              <a:cs typeface="Titillium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40445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7" grpId="0" animBg="1"/>
      <p:bldP spid="8" grpId="0" animBg="1"/>
      <p:bldP spid="13" grpId="0" animBg="1"/>
    </p:bld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432">
          <p15:clr>
            <a:srgbClr val="FBAE40"/>
          </p15:clr>
        </p15:guide>
        <p15:guide id="3" pos="7248">
          <p15:clr>
            <a:srgbClr val="FBAE40"/>
          </p15:clr>
        </p15:guide>
        <p15:guide id="4" orient="horz" pos="432">
          <p15:clr>
            <a:srgbClr val="FBAE40"/>
          </p15:clr>
        </p15:guide>
        <p15:guide id="5" orient="horz" pos="3888">
          <p15:clr>
            <a:srgbClr val="FBAE40"/>
          </p15:clr>
        </p15:guide>
        <p15:guide id="6" pos="3840">
          <p15:clr>
            <a:srgbClr val="FBAE40"/>
          </p15:clr>
        </p15:guide>
        <p15:guide id="7" pos="1128">
          <p15:clr>
            <a:srgbClr val="FBAE40"/>
          </p15:clr>
        </p15:guide>
        <p15:guide id="8" pos="6552">
          <p15:clr>
            <a:srgbClr val="FBAE40"/>
          </p15:clr>
        </p15:guide>
        <p15:guide id="9" orient="horz" pos="1920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Picture 3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3353" y="-677528"/>
            <a:ext cx="2179780" cy="4258277"/>
          </a:xfrm>
          <a:prstGeom prst="rect">
            <a:avLst/>
          </a:prstGeom>
        </p:spPr>
      </p:pic>
      <p:pic>
        <p:nvPicPr>
          <p:cNvPr id="37" name="Picture 3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39323" y="1094122"/>
            <a:ext cx="2179780" cy="4258277"/>
          </a:xfrm>
          <a:prstGeom prst="rect">
            <a:avLst/>
          </a:prstGeom>
        </p:spPr>
      </p:pic>
      <p:pic>
        <p:nvPicPr>
          <p:cNvPr id="38" name="Picture 3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2977" y="-392322"/>
            <a:ext cx="2179780" cy="4258277"/>
          </a:xfrm>
          <a:prstGeom prst="rect">
            <a:avLst/>
          </a:prstGeom>
        </p:spPr>
      </p:pic>
      <p:sp>
        <p:nvSpPr>
          <p:cNvPr id="33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4246988" y="-22859"/>
            <a:ext cx="1659300" cy="2948940"/>
          </a:xfrm>
          <a:prstGeom prst="rect">
            <a:avLst/>
          </a:prstGeom>
          <a:pattFill prst="pct5">
            <a:fgClr>
              <a:schemeClr val="tx1"/>
            </a:fgClr>
            <a:bgClr>
              <a:schemeClr val="bg1">
                <a:lumMod val="85000"/>
              </a:schemeClr>
            </a:bgClr>
          </a:pattFill>
          <a:effectLst/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 dirty="0"/>
              <a:t>Drag &amp; Drop Image</a:t>
            </a:r>
          </a:p>
        </p:txBody>
      </p:sp>
      <p:sp>
        <p:nvSpPr>
          <p:cNvPr id="34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6299985" y="1748790"/>
            <a:ext cx="1659300" cy="2948940"/>
          </a:xfrm>
          <a:prstGeom prst="rect">
            <a:avLst/>
          </a:prstGeom>
          <a:pattFill prst="pct5">
            <a:fgClr>
              <a:schemeClr val="tx1"/>
            </a:fgClr>
            <a:bgClr>
              <a:schemeClr val="bg1">
                <a:lumMod val="85000"/>
              </a:schemeClr>
            </a:bgClr>
          </a:pattFill>
          <a:effectLst/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 dirty="0"/>
              <a:t>Drag &amp; Drop Image</a:t>
            </a:r>
          </a:p>
        </p:txBody>
      </p:sp>
      <p:sp>
        <p:nvSpPr>
          <p:cNvPr id="35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8326256" y="262890"/>
            <a:ext cx="1659300" cy="2948940"/>
          </a:xfrm>
          <a:prstGeom prst="rect">
            <a:avLst/>
          </a:prstGeom>
          <a:pattFill prst="pct5">
            <a:fgClr>
              <a:schemeClr val="tx1"/>
            </a:fgClr>
            <a:bgClr>
              <a:schemeClr val="bg1">
                <a:lumMod val="85000"/>
              </a:schemeClr>
            </a:bgClr>
          </a:pattFill>
          <a:effectLst/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 dirty="0"/>
              <a:t>Drag &amp; Drop Image</a:t>
            </a:r>
          </a:p>
        </p:txBody>
      </p:sp>
    </p:spTree>
    <p:extLst>
      <p:ext uri="{BB962C8B-B14F-4D97-AF65-F5344CB8AC3E}">
        <p14:creationId xmlns:p14="http://schemas.microsoft.com/office/powerpoint/2010/main" val="1899058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432">
          <p15:clr>
            <a:srgbClr val="FBAE40"/>
          </p15:clr>
        </p15:guide>
        <p15:guide id="3" pos="7248">
          <p15:clr>
            <a:srgbClr val="FBAE40"/>
          </p15:clr>
        </p15:guide>
        <p15:guide id="4" orient="horz" pos="432">
          <p15:clr>
            <a:srgbClr val="FBAE40"/>
          </p15:clr>
        </p15:guide>
        <p15:guide id="5" orient="horz" pos="3888">
          <p15:clr>
            <a:srgbClr val="FBAE40"/>
          </p15:clr>
        </p15:guide>
        <p15:guide id="6" pos="3840">
          <p15:clr>
            <a:srgbClr val="FBAE40"/>
          </p15:clr>
        </p15:guide>
        <p15:guide id="7" pos="1128">
          <p15:clr>
            <a:srgbClr val="FBAE40"/>
          </p15:clr>
        </p15:guide>
        <p15:guide id="8" pos="6552">
          <p15:clr>
            <a:srgbClr val="FBAE40"/>
          </p15:clr>
        </p15:guide>
        <p15:guide id="9" orient="horz" pos="1920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9069616" y="628716"/>
            <a:ext cx="4939393" cy="6858000"/>
          </a:xfrm>
          <a:prstGeom prst="rect">
            <a:avLst/>
          </a:prstGeom>
          <a:effectLst/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65088" y="2191658"/>
            <a:ext cx="1998958" cy="4075330"/>
          </a:xfrm>
          <a:prstGeom prst="rect">
            <a:avLst/>
          </a:prstGeom>
          <a:effectLst/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7619" y="1941731"/>
            <a:ext cx="2175811" cy="4325257"/>
          </a:xfrm>
          <a:prstGeom prst="rect">
            <a:avLst/>
          </a:prstGeom>
          <a:effectLst/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87908" y="4040025"/>
            <a:ext cx="1243445" cy="2404317"/>
          </a:xfrm>
          <a:prstGeom prst="rect">
            <a:avLst/>
          </a:prstGeom>
          <a:effectLst/>
        </p:spPr>
      </p:pic>
      <p:sp>
        <p:nvSpPr>
          <p:cNvPr id="8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5894174" y="2693775"/>
            <a:ext cx="1771047" cy="3113308"/>
          </a:xfrm>
          <a:prstGeom prst="rect">
            <a:avLst/>
          </a:prstGeom>
          <a:pattFill prst="pct5">
            <a:fgClr>
              <a:schemeClr val="tx1"/>
            </a:fgClr>
            <a:bgClr>
              <a:schemeClr val="bg1">
                <a:lumMod val="85000"/>
              </a:schemeClr>
            </a:bgClr>
          </a:pattFill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 dirty="0"/>
              <a:t>Drag &amp; Drop Image</a:t>
            </a:r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3265039" y="2323070"/>
            <a:ext cx="2001318" cy="3574077"/>
          </a:xfrm>
          <a:prstGeom prst="rect">
            <a:avLst/>
          </a:prstGeom>
          <a:pattFill prst="pct5">
            <a:fgClr>
              <a:schemeClr val="tx1"/>
            </a:fgClr>
            <a:bgClr>
              <a:schemeClr val="bg1">
                <a:lumMod val="85000"/>
              </a:schemeClr>
            </a:bgClr>
          </a:pattFill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 dirty="0"/>
              <a:t>Drag &amp; Drop Image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1822122" y="4762702"/>
            <a:ext cx="774384" cy="963299"/>
          </a:xfrm>
          <a:prstGeom prst="rect">
            <a:avLst/>
          </a:prstGeom>
          <a:pattFill prst="pct5">
            <a:fgClr>
              <a:schemeClr val="tx1"/>
            </a:fgClr>
            <a:bgClr>
              <a:schemeClr val="bg1">
                <a:lumMod val="85000"/>
              </a:schemeClr>
            </a:bgClr>
          </a:pattFill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 dirty="0"/>
              <a:t>Drag &amp; Drop Image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5" hasCustomPrompt="1"/>
          </p:nvPr>
        </p:nvSpPr>
        <p:spPr>
          <a:xfrm>
            <a:off x="8872151" y="2075937"/>
            <a:ext cx="5278351" cy="3965530"/>
          </a:xfrm>
          <a:prstGeom prst="rect">
            <a:avLst/>
          </a:prstGeom>
          <a:pattFill prst="pct5">
            <a:fgClr>
              <a:schemeClr val="tx1"/>
            </a:fgClr>
            <a:bgClr>
              <a:schemeClr val="bg1">
                <a:lumMod val="85000"/>
              </a:schemeClr>
            </a:bgClr>
          </a:pattFill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 dirty="0"/>
              <a:t>Drag &amp; Drop Image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3904735" y="2154587"/>
            <a:ext cx="691979" cy="131412"/>
          </a:xfrm>
          <a:prstGeom prst="rect">
            <a:avLst/>
          </a:prstGeom>
          <a:solidFill>
            <a:srgbClr val="F4F4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02451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432">
          <p15:clr>
            <a:srgbClr val="FBAE40"/>
          </p15:clr>
        </p15:guide>
        <p15:guide id="3" pos="7248">
          <p15:clr>
            <a:srgbClr val="FBAE40"/>
          </p15:clr>
        </p15:guide>
        <p15:guide id="4" orient="horz" pos="432">
          <p15:clr>
            <a:srgbClr val="FBAE40"/>
          </p15:clr>
        </p15:guide>
        <p15:guide id="5" orient="horz" pos="3888">
          <p15:clr>
            <a:srgbClr val="FBAE40"/>
          </p15:clr>
        </p15:guide>
        <p15:guide id="6" pos="3840">
          <p15:clr>
            <a:srgbClr val="FBAE40"/>
          </p15:clr>
        </p15:guide>
        <p15:guide id="7" pos="1128">
          <p15:clr>
            <a:srgbClr val="FBAE40"/>
          </p15:clr>
        </p15:guide>
        <p15:guide id="8" pos="6552">
          <p15:clr>
            <a:srgbClr val="FBAE40"/>
          </p15:clr>
        </p15:guide>
        <p15:guide id="9" orient="horz" pos="192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F86817C-4CB4-4A9B-9765-258CC144F0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80FE11AF-CA06-47BC-8AD6-D58F2501CE5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BF83223E-99C1-41DC-8019-3300CAA0F32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4B2BC977-9BB5-4E58-8B6E-13EBF948C40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5606FDF0-19A7-4A2A-B953-1049763040E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1DF5A8CB-C656-4DA8-A870-C541761489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3A656C-BD5A-450D-8E27-5AFFED385077}" type="datetimeFigureOut">
              <a:rPr lang="pt-BR" smtClean="0"/>
              <a:t>28/05/2020</a:t>
            </a:fld>
            <a:endParaRPr lang="pt-BR" dirty="0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6A67ED97-2AED-4107-89DB-930579E3A3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9" name="Espaço Reservado para Número de Slide 8">
            <a:extLst>
              <a:ext uri="{FF2B5EF4-FFF2-40B4-BE49-F238E27FC236}">
                <a16:creationId xmlns:a16="http://schemas.microsoft.com/office/drawing/2014/main" id="{7DBB1056-D2DE-4FB8-87AA-80492E1D25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E774B9-B12C-4857-9133-C2FE22381242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39139823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Title 64"/>
          <p:cNvSpPr>
            <a:spLocks noGrp="1"/>
          </p:cNvSpPr>
          <p:nvPr>
            <p:ph type="title"/>
          </p:nvPr>
        </p:nvSpPr>
        <p:spPr>
          <a:xfrm>
            <a:off x="1790700" y="1042859"/>
            <a:ext cx="8610600" cy="495486"/>
          </a:xfrm>
          <a:prstGeom prst="rect">
            <a:avLst/>
          </a:prstGeom>
        </p:spPr>
        <p:txBody>
          <a:bodyPr/>
          <a:lstStyle>
            <a:lvl1pPr algn="ctr">
              <a:defRPr sz="32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6799" y="3416531"/>
            <a:ext cx="10058400" cy="6030254"/>
          </a:xfrm>
          <a:prstGeom prst="rect">
            <a:avLst/>
          </a:prstGeom>
          <a:effectLst/>
        </p:spPr>
      </p:pic>
      <p:sp>
        <p:nvSpPr>
          <p:cNvPr id="9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2235209" y="3875315"/>
            <a:ext cx="7725220" cy="4795158"/>
          </a:xfrm>
          <a:prstGeom prst="rect">
            <a:avLst/>
          </a:prstGeom>
          <a:pattFill prst="pct5">
            <a:fgClr>
              <a:schemeClr val="tx1"/>
            </a:fgClr>
            <a:bgClr>
              <a:schemeClr val="bg1">
                <a:lumMod val="85000"/>
              </a:schemeClr>
            </a:bgClr>
          </a:pattFill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 dirty="0"/>
              <a:t>Drag &amp; Drop Image</a:t>
            </a:r>
          </a:p>
        </p:txBody>
      </p:sp>
    </p:spTree>
    <p:extLst>
      <p:ext uri="{BB962C8B-B14F-4D97-AF65-F5344CB8AC3E}">
        <p14:creationId xmlns:p14="http://schemas.microsoft.com/office/powerpoint/2010/main" val="2343132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432">
          <p15:clr>
            <a:srgbClr val="FBAE40"/>
          </p15:clr>
        </p15:guide>
        <p15:guide id="3" pos="7248">
          <p15:clr>
            <a:srgbClr val="FBAE40"/>
          </p15:clr>
        </p15:guide>
        <p15:guide id="4" orient="horz" pos="432">
          <p15:clr>
            <a:srgbClr val="FBAE40"/>
          </p15:clr>
        </p15:guide>
        <p15:guide id="5" orient="horz" pos="3888">
          <p15:clr>
            <a:srgbClr val="FBAE40"/>
          </p15:clr>
        </p15:guide>
        <p15:guide id="6" pos="3840">
          <p15:clr>
            <a:srgbClr val="FBAE40"/>
          </p15:clr>
        </p15:guide>
        <p15:guide id="7" pos="1128">
          <p15:clr>
            <a:srgbClr val="FBAE40"/>
          </p15:clr>
        </p15:guide>
        <p15:guide id="8" pos="6552">
          <p15:clr>
            <a:srgbClr val="FBAE40"/>
          </p15:clr>
        </p15:guide>
        <p15:guide id="9" orient="horz" pos="1920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8507" y="1887002"/>
            <a:ext cx="6641556" cy="3899528"/>
          </a:xfrm>
          <a:prstGeom prst="rect">
            <a:avLst/>
          </a:prstGeom>
          <a:effectLst/>
        </p:spPr>
      </p:pic>
      <p:sp>
        <p:nvSpPr>
          <p:cNvPr id="6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5666128" y="2131266"/>
            <a:ext cx="5026766" cy="3163953"/>
          </a:xfrm>
          <a:prstGeom prst="rect">
            <a:avLst/>
          </a:prstGeom>
          <a:pattFill prst="pct5">
            <a:fgClr>
              <a:schemeClr val="tx1"/>
            </a:fgClr>
            <a:bgClr>
              <a:schemeClr val="bg1">
                <a:lumMod val="85000"/>
              </a:schemeClr>
            </a:bgClr>
          </a:pattFill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 dirty="0"/>
              <a:t>Drag &amp; Drop Image</a:t>
            </a:r>
          </a:p>
        </p:txBody>
      </p:sp>
      <p:grpSp>
        <p:nvGrpSpPr>
          <p:cNvPr id="7" name="Group 6"/>
          <p:cNvGrpSpPr/>
          <p:nvPr userDrawn="1"/>
        </p:nvGrpSpPr>
        <p:grpSpPr>
          <a:xfrm>
            <a:off x="685800" y="685800"/>
            <a:ext cx="457200" cy="149901"/>
            <a:chOff x="685800" y="1144249"/>
            <a:chExt cx="457200" cy="149901"/>
          </a:xfrm>
        </p:grpSpPr>
        <p:sp>
          <p:nvSpPr>
            <p:cNvPr id="10" name="Rectangle 9"/>
            <p:cNvSpPr/>
            <p:nvPr userDrawn="1"/>
          </p:nvSpPr>
          <p:spPr>
            <a:xfrm>
              <a:off x="685800" y="1144249"/>
              <a:ext cx="18288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914400" y="1144249"/>
              <a:ext cx="4572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" name="Rectangle 11"/>
            <p:cNvSpPr/>
            <p:nvPr userDrawn="1"/>
          </p:nvSpPr>
          <p:spPr>
            <a:xfrm>
              <a:off x="1005840" y="1144249"/>
              <a:ext cx="4572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Rectangle 12"/>
            <p:cNvSpPr/>
            <p:nvPr userDrawn="1"/>
          </p:nvSpPr>
          <p:spPr>
            <a:xfrm>
              <a:off x="685800" y="1244183"/>
              <a:ext cx="18288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914400" y="1244183"/>
              <a:ext cx="4572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5" name="Rectangle 14"/>
            <p:cNvSpPr/>
            <p:nvPr userDrawn="1"/>
          </p:nvSpPr>
          <p:spPr>
            <a:xfrm>
              <a:off x="1005840" y="1244183"/>
              <a:ext cx="4572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6" name="Rectangle 15"/>
            <p:cNvSpPr/>
            <p:nvPr userDrawn="1"/>
          </p:nvSpPr>
          <p:spPr>
            <a:xfrm>
              <a:off x="1097280" y="1244183"/>
              <a:ext cx="4572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17" name="Group 16"/>
          <p:cNvGrpSpPr/>
          <p:nvPr userDrawn="1"/>
        </p:nvGrpSpPr>
        <p:grpSpPr>
          <a:xfrm rot="10800000">
            <a:off x="11369040" y="685800"/>
            <a:ext cx="137160" cy="149901"/>
            <a:chOff x="1005840" y="1144249"/>
            <a:chExt cx="137160" cy="149901"/>
          </a:xfrm>
        </p:grpSpPr>
        <p:sp>
          <p:nvSpPr>
            <p:cNvPr id="18" name="Rectangle 17"/>
            <p:cNvSpPr/>
            <p:nvPr userDrawn="1"/>
          </p:nvSpPr>
          <p:spPr>
            <a:xfrm>
              <a:off x="1005840" y="1144249"/>
              <a:ext cx="4572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9" name="Rectangle 18"/>
            <p:cNvSpPr/>
            <p:nvPr userDrawn="1"/>
          </p:nvSpPr>
          <p:spPr>
            <a:xfrm>
              <a:off x="1005840" y="1244183"/>
              <a:ext cx="4572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0" name="Rectangle 19"/>
            <p:cNvSpPr/>
            <p:nvPr userDrawn="1"/>
          </p:nvSpPr>
          <p:spPr>
            <a:xfrm>
              <a:off x="1097280" y="1244183"/>
              <a:ext cx="4572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21" name="Group 20"/>
          <p:cNvGrpSpPr/>
          <p:nvPr userDrawn="1"/>
        </p:nvGrpSpPr>
        <p:grpSpPr>
          <a:xfrm rot="10800000">
            <a:off x="11369040" y="6122233"/>
            <a:ext cx="137160" cy="49967"/>
            <a:chOff x="1005840" y="1244183"/>
            <a:chExt cx="137160" cy="49967"/>
          </a:xfrm>
        </p:grpSpPr>
        <p:sp>
          <p:nvSpPr>
            <p:cNvPr id="22" name="Rectangle 21"/>
            <p:cNvSpPr/>
            <p:nvPr userDrawn="1"/>
          </p:nvSpPr>
          <p:spPr>
            <a:xfrm>
              <a:off x="1005840" y="1244183"/>
              <a:ext cx="4572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3" name="Rectangle 22"/>
            <p:cNvSpPr/>
            <p:nvPr userDrawn="1"/>
          </p:nvSpPr>
          <p:spPr>
            <a:xfrm>
              <a:off x="1097280" y="1244183"/>
              <a:ext cx="4572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24" name="TextBox 23"/>
          <p:cNvSpPr txBox="1"/>
          <p:nvPr userDrawn="1"/>
        </p:nvSpPr>
        <p:spPr>
          <a:xfrm>
            <a:off x="594015" y="5991924"/>
            <a:ext cx="36740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260E2A6B-A809-4840-BF14-8648BC0BDF87}" type="slidenum">
              <a:rPr lang="id-ID" sz="1200" b="1" i="0">
                <a:solidFill>
                  <a:srgbClr val="000000"/>
                </a:solidFill>
                <a:latin typeface="Titillium" charset="0"/>
                <a:ea typeface="Titillium" charset="0"/>
                <a:cs typeface="Titillium" charset="0"/>
              </a:rPr>
              <a:pPr algn="l"/>
              <a:t>‹nº›</a:t>
            </a:fld>
            <a:endParaRPr lang="en-MY" sz="1200" b="1" i="0" dirty="0">
              <a:solidFill>
                <a:srgbClr val="000000"/>
              </a:solidFill>
              <a:latin typeface="Titillium" charset="0"/>
              <a:ea typeface="Titillium" charset="0"/>
              <a:cs typeface="Titillium" charset="0"/>
            </a:endParaRPr>
          </a:p>
        </p:txBody>
      </p:sp>
      <p:sp>
        <p:nvSpPr>
          <p:cNvPr id="28" name="Rectangle 27"/>
          <p:cNvSpPr/>
          <p:nvPr userDrawn="1"/>
        </p:nvSpPr>
        <p:spPr>
          <a:xfrm>
            <a:off x="7849085" y="5426678"/>
            <a:ext cx="660400" cy="138910"/>
          </a:xfrm>
          <a:prstGeom prst="rect">
            <a:avLst/>
          </a:prstGeom>
          <a:solidFill>
            <a:srgbClr val="1F1C1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8137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432">
          <p15:clr>
            <a:srgbClr val="FBAE40"/>
          </p15:clr>
        </p15:guide>
        <p15:guide id="3" pos="7248">
          <p15:clr>
            <a:srgbClr val="FBAE40"/>
          </p15:clr>
        </p15:guide>
        <p15:guide id="4" orient="horz" pos="432">
          <p15:clr>
            <a:srgbClr val="FBAE40"/>
          </p15:clr>
        </p15:guide>
        <p15:guide id="5" orient="horz" pos="3888">
          <p15:clr>
            <a:srgbClr val="FBAE40"/>
          </p15:clr>
        </p15:guide>
        <p15:guide id="6" pos="3840">
          <p15:clr>
            <a:srgbClr val="FBAE40"/>
          </p15:clr>
        </p15:guide>
        <p15:guide id="7" pos="1128">
          <p15:clr>
            <a:srgbClr val="FBAE40"/>
          </p15:clr>
        </p15:guide>
        <p15:guide id="8" pos="6552">
          <p15:clr>
            <a:srgbClr val="FBAE40"/>
          </p15:clr>
        </p15:guide>
        <p15:guide id="9" orient="horz" pos="1920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Title 64"/>
          <p:cNvSpPr>
            <a:spLocks noGrp="1"/>
          </p:cNvSpPr>
          <p:nvPr>
            <p:ph type="title"/>
          </p:nvPr>
        </p:nvSpPr>
        <p:spPr>
          <a:xfrm>
            <a:off x="1790700" y="1042859"/>
            <a:ext cx="8610600" cy="495486"/>
          </a:xfrm>
          <a:prstGeom prst="rect">
            <a:avLst/>
          </a:prstGeom>
        </p:spPr>
        <p:txBody>
          <a:bodyPr/>
          <a:lstStyle>
            <a:lvl1pPr algn="ctr">
              <a:defRPr sz="32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4076109" y="2377643"/>
            <a:ext cx="1754371" cy="1754372"/>
          </a:xfrm>
          <a:prstGeom prst="ellipse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1790699" y="2377643"/>
            <a:ext cx="1754371" cy="1754372"/>
          </a:xfrm>
          <a:prstGeom prst="ellipse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6361517" y="2377643"/>
            <a:ext cx="1754371" cy="1754372"/>
          </a:xfrm>
          <a:prstGeom prst="ellipse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8646926" y="2377643"/>
            <a:ext cx="1754371" cy="1754372"/>
          </a:xfrm>
          <a:prstGeom prst="ellipse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</p:spTree>
    <p:extLst>
      <p:ext uri="{BB962C8B-B14F-4D97-AF65-F5344CB8AC3E}">
        <p14:creationId xmlns:p14="http://schemas.microsoft.com/office/powerpoint/2010/main" val="19108582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432">
          <p15:clr>
            <a:srgbClr val="FBAE40"/>
          </p15:clr>
        </p15:guide>
        <p15:guide id="3" pos="7248">
          <p15:clr>
            <a:srgbClr val="FBAE40"/>
          </p15:clr>
        </p15:guide>
        <p15:guide id="4" orient="horz" pos="432">
          <p15:clr>
            <a:srgbClr val="FBAE40"/>
          </p15:clr>
        </p15:guide>
        <p15:guide id="5" orient="horz" pos="3888">
          <p15:clr>
            <a:srgbClr val="FBAE40"/>
          </p15:clr>
        </p15:guide>
        <p15:guide id="6" pos="3840">
          <p15:clr>
            <a:srgbClr val="FBAE40"/>
          </p15:clr>
        </p15:guide>
        <p15:guide id="7" pos="1128">
          <p15:clr>
            <a:srgbClr val="FBAE40"/>
          </p15:clr>
        </p15:guide>
        <p15:guide id="8" pos="6552">
          <p15:clr>
            <a:srgbClr val="FBAE40"/>
          </p15:clr>
        </p15:guide>
        <p15:guide id="9" orient="horz" pos="1944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4228347" y="1483967"/>
            <a:ext cx="1449894" cy="1449895"/>
          </a:xfrm>
          <a:prstGeom prst="ellipse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1942937" y="1483967"/>
            <a:ext cx="1449894" cy="1449895"/>
          </a:xfrm>
          <a:prstGeom prst="ellipse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6513755" y="1483967"/>
            <a:ext cx="1449894" cy="1449895"/>
          </a:xfrm>
          <a:prstGeom prst="ellipse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8799164" y="1483967"/>
            <a:ext cx="1449894" cy="1449895"/>
          </a:xfrm>
          <a:prstGeom prst="ellipse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4228347" y="3905892"/>
            <a:ext cx="1449894" cy="1449895"/>
          </a:xfrm>
          <a:prstGeom prst="ellipse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5" hasCustomPrompt="1"/>
          </p:nvPr>
        </p:nvSpPr>
        <p:spPr>
          <a:xfrm>
            <a:off x="1942937" y="3905892"/>
            <a:ext cx="1449894" cy="1449895"/>
          </a:xfrm>
          <a:prstGeom prst="ellipse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6" hasCustomPrompt="1"/>
          </p:nvPr>
        </p:nvSpPr>
        <p:spPr>
          <a:xfrm>
            <a:off x="6513755" y="3905892"/>
            <a:ext cx="1449894" cy="1449895"/>
          </a:xfrm>
          <a:prstGeom prst="ellipse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8799164" y="3905892"/>
            <a:ext cx="1449894" cy="1449895"/>
          </a:xfrm>
          <a:prstGeom prst="ellipse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</p:spTree>
    <p:extLst>
      <p:ext uri="{BB962C8B-B14F-4D97-AF65-F5344CB8AC3E}">
        <p14:creationId xmlns:p14="http://schemas.microsoft.com/office/powerpoint/2010/main" val="7222379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432">
          <p15:clr>
            <a:srgbClr val="FBAE40"/>
          </p15:clr>
        </p15:guide>
        <p15:guide id="3" pos="7248">
          <p15:clr>
            <a:srgbClr val="FBAE40"/>
          </p15:clr>
        </p15:guide>
        <p15:guide id="4" orient="horz" pos="432">
          <p15:clr>
            <a:srgbClr val="FBAE40"/>
          </p15:clr>
        </p15:guide>
        <p15:guide id="5" orient="horz" pos="3888">
          <p15:clr>
            <a:srgbClr val="FBAE40"/>
          </p15:clr>
        </p15:guide>
        <p15:guide id="6" pos="3840">
          <p15:clr>
            <a:srgbClr val="FBAE40"/>
          </p15:clr>
        </p15:guide>
        <p15:guide id="7" pos="1128">
          <p15:clr>
            <a:srgbClr val="FBAE40"/>
          </p15:clr>
        </p15:guide>
        <p15:guide id="8" pos="6552">
          <p15:clr>
            <a:srgbClr val="FBAE40"/>
          </p15:clr>
        </p15:guide>
        <p15:guide id="9" orient="horz" pos="1944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3915137" y="685800"/>
            <a:ext cx="3471826" cy="4661704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5651050" y="3429000"/>
            <a:ext cx="2346767" cy="2743199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</p:spTree>
    <p:extLst>
      <p:ext uri="{BB962C8B-B14F-4D97-AF65-F5344CB8AC3E}">
        <p14:creationId xmlns:p14="http://schemas.microsoft.com/office/powerpoint/2010/main" val="18726668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432">
          <p15:clr>
            <a:srgbClr val="FBAE40"/>
          </p15:clr>
        </p15:guide>
        <p15:guide id="3" pos="7248">
          <p15:clr>
            <a:srgbClr val="FBAE40"/>
          </p15:clr>
        </p15:guide>
        <p15:guide id="4" orient="horz" pos="432">
          <p15:clr>
            <a:srgbClr val="FBAE40"/>
          </p15:clr>
        </p15:guide>
        <p15:guide id="5" orient="horz" pos="3888">
          <p15:clr>
            <a:srgbClr val="FBAE40"/>
          </p15:clr>
        </p15:guide>
        <p15:guide id="6" pos="3840">
          <p15:clr>
            <a:srgbClr val="FBAE40"/>
          </p15:clr>
        </p15:guide>
        <p15:guide id="7" pos="1128">
          <p15:clr>
            <a:srgbClr val="FBAE40"/>
          </p15:clr>
        </p15:guide>
        <p15:guide id="8" pos="6552">
          <p15:clr>
            <a:srgbClr val="FBAE40"/>
          </p15:clr>
        </p15:guide>
        <p15:guide id="9" orient="horz" pos="1944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4114800" y="685800"/>
            <a:ext cx="3274540" cy="5486400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</p:spTree>
    <p:extLst>
      <p:ext uri="{BB962C8B-B14F-4D97-AF65-F5344CB8AC3E}">
        <p14:creationId xmlns:p14="http://schemas.microsoft.com/office/powerpoint/2010/main" val="9276129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432">
          <p15:clr>
            <a:srgbClr val="FBAE40"/>
          </p15:clr>
        </p15:guide>
        <p15:guide id="3" pos="7248">
          <p15:clr>
            <a:srgbClr val="FBAE40"/>
          </p15:clr>
        </p15:guide>
        <p15:guide id="4" orient="horz" pos="432">
          <p15:clr>
            <a:srgbClr val="FBAE40"/>
          </p15:clr>
        </p15:guide>
        <p15:guide id="5" orient="horz" pos="3888">
          <p15:clr>
            <a:srgbClr val="FBAE40"/>
          </p15:clr>
        </p15:guide>
        <p15:guide id="6" pos="3840">
          <p15:clr>
            <a:srgbClr val="FBAE40"/>
          </p15:clr>
        </p15:guide>
        <p15:guide id="7" pos="1128">
          <p15:clr>
            <a:srgbClr val="FBAE40"/>
          </p15:clr>
        </p15:guide>
        <p15:guide id="8" pos="6552">
          <p15:clr>
            <a:srgbClr val="FBAE40"/>
          </p15:clr>
        </p15:guide>
        <p15:guide id="9" orient="horz" pos="1944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Title 64"/>
          <p:cNvSpPr>
            <a:spLocks noGrp="1"/>
          </p:cNvSpPr>
          <p:nvPr>
            <p:ph type="title"/>
          </p:nvPr>
        </p:nvSpPr>
        <p:spPr>
          <a:xfrm>
            <a:off x="1790700" y="1042859"/>
            <a:ext cx="8610600" cy="495486"/>
          </a:xfrm>
          <a:prstGeom prst="rect">
            <a:avLst/>
          </a:prstGeom>
        </p:spPr>
        <p:txBody>
          <a:bodyPr/>
          <a:lstStyle>
            <a:lvl1pPr algn="ctr">
              <a:defRPr sz="32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4360087" y="2099850"/>
            <a:ext cx="3471826" cy="3471828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  <p:grpSp>
        <p:nvGrpSpPr>
          <p:cNvPr id="7" name="Group 6"/>
          <p:cNvGrpSpPr/>
          <p:nvPr userDrawn="1"/>
        </p:nvGrpSpPr>
        <p:grpSpPr>
          <a:xfrm>
            <a:off x="685800" y="685800"/>
            <a:ext cx="457200" cy="149901"/>
            <a:chOff x="685800" y="1144249"/>
            <a:chExt cx="457200" cy="149901"/>
          </a:xfrm>
        </p:grpSpPr>
        <p:sp>
          <p:nvSpPr>
            <p:cNvPr id="8" name="Rectangle 7"/>
            <p:cNvSpPr/>
            <p:nvPr userDrawn="1"/>
          </p:nvSpPr>
          <p:spPr>
            <a:xfrm>
              <a:off x="685800" y="1144249"/>
              <a:ext cx="18288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Rectangle 12"/>
            <p:cNvSpPr/>
            <p:nvPr userDrawn="1"/>
          </p:nvSpPr>
          <p:spPr>
            <a:xfrm>
              <a:off x="914400" y="1144249"/>
              <a:ext cx="4572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1005840" y="1144249"/>
              <a:ext cx="4572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5" name="Rectangle 14"/>
            <p:cNvSpPr/>
            <p:nvPr userDrawn="1"/>
          </p:nvSpPr>
          <p:spPr>
            <a:xfrm>
              <a:off x="685800" y="1244183"/>
              <a:ext cx="18288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6" name="Rectangle 15"/>
            <p:cNvSpPr/>
            <p:nvPr userDrawn="1"/>
          </p:nvSpPr>
          <p:spPr>
            <a:xfrm>
              <a:off x="914400" y="1244183"/>
              <a:ext cx="4572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7" name="Rectangle 16"/>
            <p:cNvSpPr/>
            <p:nvPr userDrawn="1"/>
          </p:nvSpPr>
          <p:spPr>
            <a:xfrm>
              <a:off x="1005840" y="1244183"/>
              <a:ext cx="4572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8" name="Rectangle 17"/>
            <p:cNvSpPr/>
            <p:nvPr userDrawn="1"/>
          </p:nvSpPr>
          <p:spPr>
            <a:xfrm>
              <a:off x="1097280" y="1244183"/>
              <a:ext cx="4572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19" name="Group 18"/>
          <p:cNvGrpSpPr/>
          <p:nvPr userDrawn="1"/>
        </p:nvGrpSpPr>
        <p:grpSpPr>
          <a:xfrm rot="10800000">
            <a:off x="11369040" y="685800"/>
            <a:ext cx="137160" cy="149901"/>
            <a:chOff x="1005840" y="1144249"/>
            <a:chExt cx="137160" cy="149901"/>
          </a:xfrm>
        </p:grpSpPr>
        <p:sp>
          <p:nvSpPr>
            <p:cNvPr id="20" name="Rectangle 19"/>
            <p:cNvSpPr/>
            <p:nvPr userDrawn="1"/>
          </p:nvSpPr>
          <p:spPr>
            <a:xfrm>
              <a:off x="1005840" y="1144249"/>
              <a:ext cx="4572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1" name="Rectangle 20"/>
            <p:cNvSpPr/>
            <p:nvPr userDrawn="1"/>
          </p:nvSpPr>
          <p:spPr>
            <a:xfrm>
              <a:off x="1005840" y="1244183"/>
              <a:ext cx="4572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2" name="Rectangle 21"/>
            <p:cNvSpPr/>
            <p:nvPr userDrawn="1"/>
          </p:nvSpPr>
          <p:spPr>
            <a:xfrm>
              <a:off x="1097280" y="1244183"/>
              <a:ext cx="4572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23" name="Group 22"/>
          <p:cNvGrpSpPr/>
          <p:nvPr userDrawn="1"/>
        </p:nvGrpSpPr>
        <p:grpSpPr>
          <a:xfrm rot="10800000">
            <a:off x="11369040" y="6122233"/>
            <a:ext cx="137160" cy="49967"/>
            <a:chOff x="1005840" y="1244183"/>
            <a:chExt cx="137160" cy="49967"/>
          </a:xfrm>
        </p:grpSpPr>
        <p:sp>
          <p:nvSpPr>
            <p:cNvPr id="24" name="Rectangle 23"/>
            <p:cNvSpPr/>
            <p:nvPr userDrawn="1"/>
          </p:nvSpPr>
          <p:spPr>
            <a:xfrm>
              <a:off x="1005840" y="1244183"/>
              <a:ext cx="4572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5" name="Rectangle 24"/>
            <p:cNvSpPr/>
            <p:nvPr userDrawn="1"/>
          </p:nvSpPr>
          <p:spPr>
            <a:xfrm>
              <a:off x="1097280" y="1244183"/>
              <a:ext cx="4572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26" name="TextBox 25"/>
          <p:cNvSpPr txBox="1"/>
          <p:nvPr userDrawn="1"/>
        </p:nvSpPr>
        <p:spPr>
          <a:xfrm>
            <a:off x="594015" y="5991924"/>
            <a:ext cx="36740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260E2A6B-A809-4840-BF14-8648BC0BDF87}" type="slidenum">
              <a:rPr lang="id-ID" sz="1200" b="1" i="0">
                <a:solidFill>
                  <a:srgbClr val="000000"/>
                </a:solidFill>
                <a:latin typeface="Titillium" charset="0"/>
                <a:ea typeface="Titillium" charset="0"/>
                <a:cs typeface="Titillium" charset="0"/>
              </a:rPr>
              <a:pPr algn="l"/>
              <a:t>‹nº›</a:t>
            </a:fld>
            <a:endParaRPr lang="en-MY" sz="1200" b="1" i="0" dirty="0">
              <a:solidFill>
                <a:srgbClr val="000000"/>
              </a:solidFill>
              <a:latin typeface="Titillium" charset="0"/>
              <a:ea typeface="Titillium" charset="0"/>
              <a:cs typeface="Titillium" charset="0"/>
            </a:endParaRPr>
          </a:p>
        </p:txBody>
      </p:sp>
      <p:sp>
        <p:nvSpPr>
          <p:cNvPr id="27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685800" y="2099850"/>
            <a:ext cx="3471826" cy="3471828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  <p:sp>
        <p:nvSpPr>
          <p:cNvPr id="2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8034374" y="2099850"/>
            <a:ext cx="3471826" cy="3471828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</p:spTree>
    <p:extLst>
      <p:ext uri="{BB962C8B-B14F-4D97-AF65-F5344CB8AC3E}">
        <p14:creationId xmlns:p14="http://schemas.microsoft.com/office/powerpoint/2010/main" val="12429904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432">
          <p15:clr>
            <a:srgbClr val="FBAE40"/>
          </p15:clr>
        </p15:guide>
        <p15:guide id="3" pos="7248">
          <p15:clr>
            <a:srgbClr val="FBAE40"/>
          </p15:clr>
        </p15:guide>
        <p15:guide id="4" orient="horz" pos="432">
          <p15:clr>
            <a:srgbClr val="FBAE40"/>
          </p15:clr>
        </p15:guide>
        <p15:guide id="5" orient="horz" pos="3888">
          <p15:clr>
            <a:srgbClr val="FBAE40"/>
          </p15:clr>
        </p15:guide>
        <p15:guide id="6" pos="3840">
          <p15:clr>
            <a:srgbClr val="FBAE40"/>
          </p15:clr>
        </p15:guide>
        <p15:guide id="7" pos="1128">
          <p15:clr>
            <a:srgbClr val="FBAE40"/>
          </p15:clr>
        </p15:guide>
        <p15:guide id="8" pos="6552">
          <p15:clr>
            <a:srgbClr val="FBAE40"/>
          </p15:clr>
        </p15:guide>
        <p15:guide id="9" orient="horz" pos="1944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3174453" y="685800"/>
            <a:ext cx="2921547" cy="5486400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</p:spTree>
    <p:extLst>
      <p:ext uri="{BB962C8B-B14F-4D97-AF65-F5344CB8AC3E}">
        <p14:creationId xmlns:p14="http://schemas.microsoft.com/office/powerpoint/2010/main" val="128951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432">
          <p15:clr>
            <a:srgbClr val="FBAE40"/>
          </p15:clr>
        </p15:guide>
        <p15:guide id="3" pos="7248">
          <p15:clr>
            <a:srgbClr val="FBAE40"/>
          </p15:clr>
        </p15:guide>
        <p15:guide id="4" orient="horz" pos="432">
          <p15:clr>
            <a:srgbClr val="FBAE40"/>
          </p15:clr>
        </p15:guide>
        <p15:guide id="5" orient="horz" pos="3888">
          <p15:clr>
            <a:srgbClr val="FBAE40"/>
          </p15:clr>
        </p15:guide>
        <p15:guide id="6" pos="3840">
          <p15:clr>
            <a:srgbClr val="FBAE40"/>
          </p15:clr>
        </p15:guide>
        <p15:guide id="7" pos="1128">
          <p15:clr>
            <a:srgbClr val="FBAE40"/>
          </p15:clr>
        </p15:guide>
        <p15:guide id="8" pos="6552">
          <p15:clr>
            <a:srgbClr val="FBAE40"/>
          </p15:clr>
        </p15:guide>
        <p15:guide id="9" orient="horz" pos="1944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8471971" y="1261430"/>
            <a:ext cx="3720029" cy="4441165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  <p:grpSp>
        <p:nvGrpSpPr>
          <p:cNvPr id="4" name="Group 3"/>
          <p:cNvGrpSpPr/>
          <p:nvPr userDrawn="1"/>
        </p:nvGrpSpPr>
        <p:grpSpPr>
          <a:xfrm>
            <a:off x="685800" y="685800"/>
            <a:ext cx="457200" cy="149901"/>
            <a:chOff x="685800" y="1144249"/>
            <a:chExt cx="457200" cy="149901"/>
          </a:xfrm>
        </p:grpSpPr>
        <p:sp>
          <p:nvSpPr>
            <p:cNvPr id="5" name="Rectangle 4"/>
            <p:cNvSpPr/>
            <p:nvPr userDrawn="1"/>
          </p:nvSpPr>
          <p:spPr>
            <a:xfrm>
              <a:off x="685800" y="1144249"/>
              <a:ext cx="18288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" name="Rectangle 5"/>
            <p:cNvSpPr/>
            <p:nvPr userDrawn="1"/>
          </p:nvSpPr>
          <p:spPr>
            <a:xfrm>
              <a:off x="914400" y="1144249"/>
              <a:ext cx="4572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" name="Rectangle 6"/>
            <p:cNvSpPr/>
            <p:nvPr userDrawn="1"/>
          </p:nvSpPr>
          <p:spPr>
            <a:xfrm>
              <a:off x="1005840" y="1144249"/>
              <a:ext cx="4572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" name="Rectangle 7"/>
            <p:cNvSpPr/>
            <p:nvPr userDrawn="1"/>
          </p:nvSpPr>
          <p:spPr>
            <a:xfrm>
              <a:off x="685800" y="1244183"/>
              <a:ext cx="18288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914400" y="1244183"/>
              <a:ext cx="4572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Rectangle 9"/>
            <p:cNvSpPr/>
            <p:nvPr userDrawn="1"/>
          </p:nvSpPr>
          <p:spPr>
            <a:xfrm>
              <a:off x="1005840" y="1244183"/>
              <a:ext cx="4572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1097280" y="1244183"/>
              <a:ext cx="4572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12" name="Group 11"/>
          <p:cNvGrpSpPr/>
          <p:nvPr userDrawn="1"/>
        </p:nvGrpSpPr>
        <p:grpSpPr>
          <a:xfrm rot="10800000">
            <a:off x="11369040" y="685800"/>
            <a:ext cx="137160" cy="149901"/>
            <a:chOff x="1005840" y="1144249"/>
            <a:chExt cx="137160" cy="149901"/>
          </a:xfrm>
        </p:grpSpPr>
        <p:sp>
          <p:nvSpPr>
            <p:cNvPr id="13" name="Rectangle 12"/>
            <p:cNvSpPr/>
            <p:nvPr userDrawn="1"/>
          </p:nvSpPr>
          <p:spPr>
            <a:xfrm>
              <a:off x="1005840" y="1144249"/>
              <a:ext cx="4572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1005840" y="1244183"/>
              <a:ext cx="4572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5" name="Rectangle 14"/>
            <p:cNvSpPr/>
            <p:nvPr userDrawn="1"/>
          </p:nvSpPr>
          <p:spPr>
            <a:xfrm>
              <a:off x="1097280" y="1244183"/>
              <a:ext cx="4572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16" name="Group 15"/>
          <p:cNvGrpSpPr/>
          <p:nvPr userDrawn="1"/>
        </p:nvGrpSpPr>
        <p:grpSpPr>
          <a:xfrm rot="10800000">
            <a:off x="11369040" y="6122233"/>
            <a:ext cx="137160" cy="49967"/>
            <a:chOff x="1005840" y="1244183"/>
            <a:chExt cx="137160" cy="49967"/>
          </a:xfrm>
        </p:grpSpPr>
        <p:sp>
          <p:nvSpPr>
            <p:cNvPr id="17" name="Rectangle 16"/>
            <p:cNvSpPr/>
            <p:nvPr userDrawn="1"/>
          </p:nvSpPr>
          <p:spPr>
            <a:xfrm>
              <a:off x="1005840" y="1244183"/>
              <a:ext cx="4572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8" name="Rectangle 17"/>
            <p:cNvSpPr/>
            <p:nvPr userDrawn="1"/>
          </p:nvSpPr>
          <p:spPr>
            <a:xfrm>
              <a:off x="1097280" y="1244183"/>
              <a:ext cx="45720" cy="4996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9" name="TextBox 18"/>
          <p:cNvSpPr txBox="1"/>
          <p:nvPr userDrawn="1"/>
        </p:nvSpPr>
        <p:spPr>
          <a:xfrm>
            <a:off x="594015" y="5991924"/>
            <a:ext cx="36740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260E2A6B-A809-4840-BF14-8648BC0BDF87}" type="slidenum">
              <a:rPr lang="id-ID" sz="1200" b="1" i="0">
                <a:solidFill>
                  <a:srgbClr val="000000"/>
                </a:solidFill>
                <a:latin typeface="Titillium" charset="0"/>
                <a:ea typeface="Titillium" charset="0"/>
                <a:cs typeface="Titillium" charset="0"/>
              </a:rPr>
              <a:pPr algn="l"/>
              <a:t>‹nº›</a:t>
            </a:fld>
            <a:endParaRPr lang="en-MY" sz="1200" b="1" i="0" dirty="0">
              <a:solidFill>
                <a:srgbClr val="000000"/>
              </a:solidFill>
              <a:latin typeface="Titillium" charset="0"/>
              <a:ea typeface="Titillium" charset="0"/>
              <a:cs typeface="Titillium" charset="0"/>
            </a:endParaRPr>
          </a:p>
        </p:txBody>
      </p:sp>
      <p:sp>
        <p:nvSpPr>
          <p:cNvPr id="20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5647980" y="1261431"/>
            <a:ext cx="2689963" cy="3211418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  <p:sp>
        <p:nvSpPr>
          <p:cNvPr id="21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2823990" y="1261431"/>
            <a:ext cx="2689963" cy="3211418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  <p:sp>
        <p:nvSpPr>
          <p:cNvPr id="22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261431"/>
            <a:ext cx="2689963" cy="3211418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</p:spTree>
    <p:extLst>
      <p:ext uri="{BB962C8B-B14F-4D97-AF65-F5344CB8AC3E}">
        <p14:creationId xmlns:p14="http://schemas.microsoft.com/office/powerpoint/2010/main" val="16426631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432">
          <p15:clr>
            <a:srgbClr val="FBAE40"/>
          </p15:clr>
        </p15:guide>
        <p15:guide id="3" pos="7248">
          <p15:clr>
            <a:srgbClr val="FBAE40"/>
          </p15:clr>
        </p15:guide>
        <p15:guide id="4" orient="horz" pos="432">
          <p15:clr>
            <a:srgbClr val="FBAE40"/>
          </p15:clr>
        </p15:guide>
        <p15:guide id="5" orient="horz" pos="3888">
          <p15:clr>
            <a:srgbClr val="FBAE40"/>
          </p15:clr>
        </p15:guide>
        <p15:guide id="6" pos="3840">
          <p15:clr>
            <a:srgbClr val="FBAE40"/>
          </p15:clr>
        </p15:guide>
        <p15:guide id="7" pos="1128">
          <p15:clr>
            <a:srgbClr val="FBAE40"/>
          </p15:clr>
        </p15:guide>
        <p15:guide id="8" pos="6552">
          <p15:clr>
            <a:srgbClr val="FBAE40"/>
          </p15:clr>
        </p15:guide>
        <p15:guide id="9" orient="horz" pos="1944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1790701" y="685800"/>
            <a:ext cx="3436208" cy="5486400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</p:spTree>
    <p:extLst>
      <p:ext uri="{BB962C8B-B14F-4D97-AF65-F5344CB8AC3E}">
        <p14:creationId xmlns:p14="http://schemas.microsoft.com/office/powerpoint/2010/main" val="116713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432">
          <p15:clr>
            <a:srgbClr val="FBAE40"/>
          </p15:clr>
        </p15:guide>
        <p15:guide id="3" pos="7248">
          <p15:clr>
            <a:srgbClr val="FBAE40"/>
          </p15:clr>
        </p15:guide>
        <p15:guide id="4" orient="horz" pos="432">
          <p15:clr>
            <a:srgbClr val="FBAE40"/>
          </p15:clr>
        </p15:guide>
        <p15:guide id="5" orient="horz" pos="3888">
          <p15:clr>
            <a:srgbClr val="FBAE40"/>
          </p15:clr>
        </p15:guide>
        <p15:guide id="6" pos="3840">
          <p15:clr>
            <a:srgbClr val="FBAE40"/>
          </p15:clr>
        </p15:guide>
        <p15:guide id="7" pos="1128">
          <p15:clr>
            <a:srgbClr val="FBAE40"/>
          </p15:clr>
        </p15:guide>
        <p15:guide id="8" pos="6552">
          <p15:clr>
            <a:srgbClr val="FBAE40"/>
          </p15:clr>
        </p15:guide>
        <p15:guide id="9" orient="horz" pos="194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9D57C47-D325-4B59-BB56-A929D90FE3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70D6359A-F2EF-4612-B7F1-79D3473851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3A656C-BD5A-450D-8E27-5AFFED385077}" type="datetimeFigureOut">
              <a:rPr lang="pt-BR" smtClean="0"/>
              <a:t>28/05/2020</a:t>
            </a:fld>
            <a:endParaRPr lang="pt-BR" dirty="0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51ABA91B-454F-4939-AAFB-34AA53129D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77DD52E9-DCDA-4F90-91EB-A2AC94812D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E774B9-B12C-4857-9133-C2FE22381242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09278719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1790700" y="685800"/>
            <a:ext cx="4305300" cy="5486400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</p:spTree>
    <p:extLst>
      <p:ext uri="{BB962C8B-B14F-4D97-AF65-F5344CB8AC3E}">
        <p14:creationId xmlns:p14="http://schemas.microsoft.com/office/powerpoint/2010/main" val="12895111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432">
          <p15:clr>
            <a:srgbClr val="FBAE40"/>
          </p15:clr>
        </p15:guide>
        <p15:guide id="3" pos="7248">
          <p15:clr>
            <a:srgbClr val="FBAE40"/>
          </p15:clr>
        </p15:guide>
        <p15:guide id="4" orient="horz" pos="432">
          <p15:clr>
            <a:srgbClr val="FBAE40"/>
          </p15:clr>
        </p15:guide>
        <p15:guide id="5" orient="horz" pos="3888">
          <p15:clr>
            <a:srgbClr val="FBAE40"/>
          </p15:clr>
        </p15:guide>
        <p15:guide id="6" pos="3840">
          <p15:clr>
            <a:srgbClr val="FBAE40"/>
          </p15:clr>
        </p15:guide>
        <p15:guide id="7" pos="1128">
          <p15:clr>
            <a:srgbClr val="FBAE40"/>
          </p15:clr>
        </p15:guide>
        <p15:guide id="8" pos="6552">
          <p15:clr>
            <a:srgbClr val="FBAE40"/>
          </p15:clr>
        </p15:guide>
        <p15:guide id="9" orient="horz" pos="1944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6096001" y="685800"/>
            <a:ext cx="4305300" cy="2400300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  <p:sp>
        <p:nvSpPr>
          <p:cNvPr id="4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8204885" y="3243648"/>
            <a:ext cx="2196415" cy="2928552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  <p:sp>
        <p:nvSpPr>
          <p:cNvPr id="5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6096000" y="3243647"/>
            <a:ext cx="1969872" cy="1674341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</p:spTree>
    <p:extLst>
      <p:ext uri="{BB962C8B-B14F-4D97-AF65-F5344CB8AC3E}">
        <p14:creationId xmlns:p14="http://schemas.microsoft.com/office/powerpoint/2010/main" val="4817625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432">
          <p15:clr>
            <a:srgbClr val="FBAE40"/>
          </p15:clr>
        </p15:guide>
        <p15:guide id="3" pos="7248">
          <p15:clr>
            <a:srgbClr val="FBAE40"/>
          </p15:clr>
        </p15:guide>
        <p15:guide id="4" orient="horz" pos="432">
          <p15:clr>
            <a:srgbClr val="FBAE40"/>
          </p15:clr>
        </p15:guide>
        <p15:guide id="5" orient="horz" pos="3888">
          <p15:clr>
            <a:srgbClr val="FBAE40"/>
          </p15:clr>
        </p15:guide>
        <p15:guide id="6" pos="3840">
          <p15:clr>
            <a:srgbClr val="FBAE40"/>
          </p15:clr>
        </p15:guide>
        <p15:guide id="7" pos="1128">
          <p15:clr>
            <a:srgbClr val="FBAE40"/>
          </p15:clr>
        </p15:guide>
        <p15:guide id="8" pos="6552">
          <p15:clr>
            <a:srgbClr val="FBAE40"/>
          </p15:clr>
        </p15:guide>
        <p15:guide id="9" orient="horz" pos="1944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6135624" y="685800"/>
            <a:ext cx="4265677" cy="2697480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  <p:sp>
        <p:nvSpPr>
          <p:cNvPr id="6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6135624" y="3474720"/>
            <a:ext cx="4265677" cy="2697480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1790700" y="685800"/>
            <a:ext cx="4265677" cy="2697480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1790700" y="3474720"/>
            <a:ext cx="4265677" cy="2697480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</p:spTree>
    <p:extLst>
      <p:ext uri="{BB962C8B-B14F-4D97-AF65-F5344CB8AC3E}">
        <p14:creationId xmlns:p14="http://schemas.microsoft.com/office/powerpoint/2010/main" val="13455545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432">
          <p15:clr>
            <a:srgbClr val="FBAE40"/>
          </p15:clr>
        </p15:guide>
        <p15:guide id="3" pos="7248">
          <p15:clr>
            <a:srgbClr val="FBAE40"/>
          </p15:clr>
        </p15:guide>
        <p15:guide id="4" orient="horz" pos="432">
          <p15:clr>
            <a:srgbClr val="FBAE40"/>
          </p15:clr>
        </p15:guide>
        <p15:guide id="5" orient="horz" pos="3888">
          <p15:clr>
            <a:srgbClr val="FBAE40"/>
          </p15:clr>
        </p15:guide>
        <p15:guide id="6" pos="3840">
          <p15:clr>
            <a:srgbClr val="FBAE40"/>
          </p15:clr>
        </p15:guide>
        <p15:guide id="7" pos="1128">
          <p15:clr>
            <a:srgbClr val="FBAE40"/>
          </p15:clr>
        </p15:guide>
        <p15:guide id="8" pos="6552">
          <p15:clr>
            <a:srgbClr val="FBAE40"/>
          </p15:clr>
        </p15:guide>
        <p15:guide id="9" orient="horz" pos="1944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1790700" y="2706129"/>
            <a:ext cx="2011680" cy="2011680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3990340" y="2706129"/>
            <a:ext cx="2011680" cy="2011680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6189980" y="2706129"/>
            <a:ext cx="2011680" cy="2011680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8389620" y="2706129"/>
            <a:ext cx="2011680" cy="2011680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</p:spTree>
    <p:extLst>
      <p:ext uri="{BB962C8B-B14F-4D97-AF65-F5344CB8AC3E}">
        <p14:creationId xmlns:p14="http://schemas.microsoft.com/office/powerpoint/2010/main" val="19077129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432">
          <p15:clr>
            <a:srgbClr val="FBAE40"/>
          </p15:clr>
        </p15:guide>
        <p15:guide id="3" pos="7248">
          <p15:clr>
            <a:srgbClr val="FBAE40"/>
          </p15:clr>
        </p15:guide>
        <p15:guide id="4" orient="horz" pos="432">
          <p15:clr>
            <a:srgbClr val="FBAE40"/>
          </p15:clr>
        </p15:guide>
        <p15:guide id="5" orient="horz" pos="3888">
          <p15:clr>
            <a:srgbClr val="FBAE40"/>
          </p15:clr>
        </p15:guide>
        <p15:guide id="6" pos="3840">
          <p15:clr>
            <a:srgbClr val="FBAE40"/>
          </p15:clr>
        </p15:guide>
        <p15:guide id="7" pos="1128">
          <p15:clr>
            <a:srgbClr val="FBAE40"/>
          </p15:clr>
        </p15:guide>
        <p15:guide id="8" pos="6552">
          <p15:clr>
            <a:srgbClr val="FBAE40"/>
          </p15:clr>
        </p15:guide>
        <p15:guide id="9" orient="horz" pos="1944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8572500" y="2514600"/>
            <a:ext cx="1828800" cy="1828800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  <p:sp>
        <p:nvSpPr>
          <p:cNvPr id="6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6743700" y="2514600"/>
            <a:ext cx="1828800" cy="1828800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5" hasCustomPrompt="1"/>
          </p:nvPr>
        </p:nvSpPr>
        <p:spPr>
          <a:xfrm>
            <a:off x="4914900" y="2514600"/>
            <a:ext cx="1828800" cy="1828800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</p:spTree>
    <p:extLst>
      <p:ext uri="{BB962C8B-B14F-4D97-AF65-F5344CB8AC3E}">
        <p14:creationId xmlns:p14="http://schemas.microsoft.com/office/powerpoint/2010/main" val="2094613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432">
          <p15:clr>
            <a:srgbClr val="FBAE40"/>
          </p15:clr>
        </p15:guide>
        <p15:guide id="3" pos="7248">
          <p15:clr>
            <a:srgbClr val="FBAE40"/>
          </p15:clr>
        </p15:guide>
        <p15:guide id="4" orient="horz" pos="432">
          <p15:clr>
            <a:srgbClr val="FBAE40"/>
          </p15:clr>
        </p15:guide>
        <p15:guide id="5" orient="horz" pos="3888">
          <p15:clr>
            <a:srgbClr val="FBAE40"/>
          </p15:clr>
        </p15:guide>
        <p15:guide id="6" pos="3840">
          <p15:clr>
            <a:srgbClr val="FBAE40"/>
          </p15:clr>
        </p15:guide>
        <p15:guide id="7" pos="1128">
          <p15:clr>
            <a:srgbClr val="FBAE40"/>
          </p15:clr>
        </p15:guide>
        <p15:guide id="8" pos="6552">
          <p15:clr>
            <a:srgbClr val="FBAE40"/>
          </p15:clr>
        </p15:guide>
        <p15:guide id="9" orient="horz" pos="1944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8572500" y="1600200"/>
            <a:ext cx="1828800" cy="1828800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  <p:sp>
        <p:nvSpPr>
          <p:cNvPr id="6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6743700" y="1600200"/>
            <a:ext cx="1828800" cy="1828800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5" hasCustomPrompt="1"/>
          </p:nvPr>
        </p:nvSpPr>
        <p:spPr>
          <a:xfrm>
            <a:off x="4914900" y="1600200"/>
            <a:ext cx="1828800" cy="1828800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  <p:sp>
        <p:nvSpPr>
          <p:cNvPr id="5" name="Picture Placeholder 2"/>
          <p:cNvSpPr>
            <a:spLocks noGrp="1"/>
          </p:cNvSpPr>
          <p:nvPr>
            <p:ph type="pic" sz="quarter" idx="16" hasCustomPrompt="1"/>
          </p:nvPr>
        </p:nvSpPr>
        <p:spPr>
          <a:xfrm>
            <a:off x="8572500" y="3429000"/>
            <a:ext cx="1828800" cy="1828800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6743700" y="3429000"/>
            <a:ext cx="1828800" cy="1828800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8" hasCustomPrompt="1"/>
          </p:nvPr>
        </p:nvSpPr>
        <p:spPr>
          <a:xfrm>
            <a:off x="4914900" y="3429000"/>
            <a:ext cx="1828800" cy="1828800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</p:spTree>
    <p:extLst>
      <p:ext uri="{BB962C8B-B14F-4D97-AF65-F5344CB8AC3E}">
        <p14:creationId xmlns:p14="http://schemas.microsoft.com/office/powerpoint/2010/main" val="15951549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432">
          <p15:clr>
            <a:srgbClr val="FBAE40"/>
          </p15:clr>
        </p15:guide>
        <p15:guide id="3" pos="7248">
          <p15:clr>
            <a:srgbClr val="FBAE40"/>
          </p15:clr>
        </p15:guide>
        <p15:guide id="4" orient="horz" pos="432">
          <p15:clr>
            <a:srgbClr val="FBAE40"/>
          </p15:clr>
        </p15:guide>
        <p15:guide id="5" orient="horz" pos="3888">
          <p15:clr>
            <a:srgbClr val="FBAE40"/>
          </p15:clr>
        </p15:guide>
        <p15:guide id="6" pos="3840">
          <p15:clr>
            <a:srgbClr val="FBAE40"/>
          </p15:clr>
        </p15:guide>
        <p15:guide id="7" pos="1128">
          <p15:clr>
            <a:srgbClr val="FBAE40"/>
          </p15:clr>
        </p15:guide>
        <p15:guide id="8" pos="6552">
          <p15:clr>
            <a:srgbClr val="FBAE40"/>
          </p15:clr>
        </p15:guide>
        <p15:guide id="9" orient="horz" pos="1944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/>
          <p:cNvSpPr>
            <a:spLocks noGrp="1"/>
          </p:cNvSpPr>
          <p:nvPr>
            <p:ph type="pic" sz="quarter" idx="15" hasCustomPrompt="1"/>
          </p:nvPr>
        </p:nvSpPr>
        <p:spPr>
          <a:xfrm>
            <a:off x="4914900" y="2514600"/>
            <a:ext cx="1828800" cy="1828800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</p:spTree>
    <p:extLst>
      <p:ext uri="{BB962C8B-B14F-4D97-AF65-F5344CB8AC3E}">
        <p14:creationId xmlns:p14="http://schemas.microsoft.com/office/powerpoint/2010/main" val="8569797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432">
          <p15:clr>
            <a:srgbClr val="FBAE40"/>
          </p15:clr>
        </p15:guide>
        <p15:guide id="3" pos="7248">
          <p15:clr>
            <a:srgbClr val="FBAE40"/>
          </p15:clr>
        </p15:guide>
        <p15:guide id="4" orient="horz" pos="432">
          <p15:clr>
            <a:srgbClr val="FBAE40"/>
          </p15:clr>
        </p15:guide>
        <p15:guide id="5" orient="horz" pos="3888">
          <p15:clr>
            <a:srgbClr val="FBAE40"/>
          </p15:clr>
        </p15:guide>
        <p15:guide id="6" pos="3840">
          <p15:clr>
            <a:srgbClr val="FBAE40"/>
          </p15:clr>
        </p15:guide>
        <p15:guide id="7" pos="1128">
          <p15:clr>
            <a:srgbClr val="FBAE40"/>
          </p15:clr>
        </p15:guide>
        <p15:guide id="8" pos="6552">
          <p15:clr>
            <a:srgbClr val="FBAE40"/>
          </p15:clr>
        </p15:guide>
        <p15:guide id="9" orient="horz" pos="1944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/>
          <p:cNvSpPr>
            <a:spLocks noGrp="1"/>
          </p:cNvSpPr>
          <p:nvPr>
            <p:ph type="pic" sz="quarter" idx="15" hasCustomPrompt="1"/>
          </p:nvPr>
        </p:nvSpPr>
        <p:spPr>
          <a:xfrm>
            <a:off x="1790700" y="2866768"/>
            <a:ext cx="8610600" cy="1124464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</p:spTree>
    <p:extLst>
      <p:ext uri="{BB962C8B-B14F-4D97-AF65-F5344CB8AC3E}">
        <p14:creationId xmlns:p14="http://schemas.microsoft.com/office/powerpoint/2010/main" val="18913635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432">
          <p15:clr>
            <a:srgbClr val="FBAE40"/>
          </p15:clr>
        </p15:guide>
        <p15:guide id="3" pos="7248">
          <p15:clr>
            <a:srgbClr val="FBAE40"/>
          </p15:clr>
        </p15:guide>
        <p15:guide id="4" orient="horz" pos="432">
          <p15:clr>
            <a:srgbClr val="FBAE40"/>
          </p15:clr>
        </p15:guide>
        <p15:guide id="5" orient="horz" pos="3888">
          <p15:clr>
            <a:srgbClr val="FBAE40"/>
          </p15:clr>
        </p15:guide>
        <p15:guide id="6" pos="3840">
          <p15:clr>
            <a:srgbClr val="FBAE40"/>
          </p15:clr>
        </p15:guide>
        <p15:guide id="7" pos="1128">
          <p15:clr>
            <a:srgbClr val="FBAE40"/>
          </p15:clr>
        </p15:guide>
        <p15:guide id="8" pos="6552">
          <p15:clr>
            <a:srgbClr val="FBAE40"/>
          </p15:clr>
        </p15:guide>
        <p15:guide id="9" orient="horz" pos="1944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/>
          <p:cNvSpPr>
            <a:spLocks noGrp="1"/>
          </p:cNvSpPr>
          <p:nvPr>
            <p:ph type="pic" sz="quarter" idx="15" hasCustomPrompt="1"/>
          </p:nvPr>
        </p:nvSpPr>
        <p:spPr>
          <a:xfrm>
            <a:off x="1790700" y="685800"/>
            <a:ext cx="8610600" cy="5486400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</p:spTree>
    <p:extLst>
      <p:ext uri="{BB962C8B-B14F-4D97-AF65-F5344CB8AC3E}">
        <p14:creationId xmlns:p14="http://schemas.microsoft.com/office/powerpoint/2010/main" val="6819282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432">
          <p15:clr>
            <a:srgbClr val="FBAE40"/>
          </p15:clr>
        </p15:guide>
        <p15:guide id="3" pos="7248">
          <p15:clr>
            <a:srgbClr val="FBAE40"/>
          </p15:clr>
        </p15:guide>
        <p15:guide id="4" orient="horz" pos="432">
          <p15:clr>
            <a:srgbClr val="FBAE40"/>
          </p15:clr>
        </p15:guide>
        <p15:guide id="5" orient="horz" pos="3888">
          <p15:clr>
            <a:srgbClr val="FBAE40"/>
          </p15:clr>
        </p15:guide>
        <p15:guide id="6" pos="3840">
          <p15:clr>
            <a:srgbClr val="FBAE40"/>
          </p15:clr>
        </p15:guide>
        <p15:guide id="7" pos="1128">
          <p15:clr>
            <a:srgbClr val="FBAE40"/>
          </p15:clr>
        </p15:guide>
        <p15:guide id="8" pos="6552">
          <p15:clr>
            <a:srgbClr val="FBAE40"/>
          </p15:clr>
        </p15:guide>
        <p15:guide id="9" orient="horz" pos="1944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6096000" cy="6858000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6" hasCustomPrompt="1"/>
          </p:nvPr>
        </p:nvSpPr>
        <p:spPr>
          <a:xfrm>
            <a:off x="7304184" y="1717589"/>
            <a:ext cx="3097116" cy="3422822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</p:spTree>
    <p:extLst>
      <p:ext uri="{BB962C8B-B14F-4D97-AF65-F5344CB8AC3E}">
        <p14:creationId xmlns:p14="http://schemas.microsoft.com/office/powerpoint/2010/main" val="6317045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432">
          <p15:clr>
            <a:srgbClr val="FBAE40"/>
          </p15:clr>
        </p15:guide>
        <p15:guide id="3" pos="7248">
          <p15:clr>
            <a:srgbClr val="FBAE40"/>
          </p15:clr>
        </p15:guide>
        <p15:guide id="4" orient="horz" pos="432">
          <p15:clr>
            <a:srgbClr val="FBAE40"/>
          </p15:clr>
        </p15:guide>
        <p15:guide id="5" orient="horz" pos="3888">
          <p15:clr>
            <a:srgbClr val="FBAE40"/>
          </p15:clr>
        </p15:guide>
        <p15:guide id="6" pos="3840">
          <p15:clr>
            <a:srgbClr val="FBAE40"/>
          </p15:clr>
        </p15:guide>
        <p15:guide id="7" pos="1128">
          <p15:clr>
            <a:srgbClr val="FBAE40"/>
          </p15:clr>
        </p15:guide>
        <p15:guide id="8" pos="6552">
          <p15:clr>
            <a:srgbClr val="FBAE40"/>
          </p15:clr>
        </p15:guide>
        <p15:guide id="9" orient="horz" pos="1944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0CCAE5D6-3CF5-4844-BA40-F701F242DC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3A656C-BD5A-450D-8E27-5AFFED385077}" type="datetimeFigureOut">
              <a:rPr lang="pt-BR" smtClean="0"/>
              <a:t>28/05/2020</a:t>
            </a:fld>
            <a:endParaRPr lang="pt-BR" dirty="0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A4B5CBCF-ED74-4EFA-97E0-7E35AFA434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5F24B1C3-5C0D-44A3-A25E-8B33B01490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E774B9-B12C-4857-9133-C2FE22381242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986991570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/>
          <p:cNvSpPr>
            <a:spLocks noGrp="1"/>
          </p:cNvSpPr>
          <p:nvPr>
            <p:ph type="pic" sz="quarter" idx="15" hasCustomPrompt="1"/>
          </p:nvPr>
        </p:nvSpPr>
        <p:spPr>
          <a:xfrm>
            <a:off x="5436973" y="685800"/>
            <a:ext cx="4964327" cy="5486400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</p:spTree>
    <p:extLst>
      <p:ext uri="{BB962C8B-B14F-4D97-AF65-F5344CB8AC3E}">
        <p14:creationId xmlns:p14="http://schemas.microsoft.com/office/powerpoint/2010/main" val="18639670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432">
          <p15:clr>
            <a:srgbClr val="FBAE40"/>
          </p15:clr>
        </p15:guide>
        <p15:guide id="3" pos="7248">
          <p15:clr>
            <a:srgbClr val="FBAE40"/>
          </p15:clr>
        </p15:guide>
        <p15:guide id="4" orient="horz" pos="432">
          <p15:clr>
            <a:srgbClr val="FBAE40"/>
          </p15:clr>
        </p15:guide>
        <p15:guide id="5" orient="horz" pos="3888">
          <p15:clr>
            <a:srgbClr val="FBAE40"/>
          </p15:clr>
        </p15:guide>
        <p15:guide id="6" pos="3840">
          <p15:clr>
            <a:srgbClr val="FBAE40"/>
          </p15:clr>
        </p15:guide>
        <p15:guide id="7" pos="1128">
          <p15:clr>
            <a:srgbClr val="FBAE40"/>
          </p15:clr>
        </p15:guide>
        <p15:guide id="8" pos="6552">
          <p15:clr>
            <a:srgbClr val="FBAE40"/>
          </p15:clr>
        </p15:guide>
        <p15:guide id="9" orient="horz" pos="1944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/>
          <p:cNvSpPr>
            <a:spLocks noGrp="1"/>
          </p:cNvSpPr>
          <p:nvPr>
            <p:ph type="pic" sz="quarter" idx="15" hasCustomPrompt="1"/>
          </p:nvPr>
        </p:nvSpPr>
        <p:spPr>
          <a:xfrm>
            <a:off x="1790700" y="1508760"/>
            <a:ext cx="3840480" cy="3840480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</p:spTree>
    <p:extLst>
      <p:ext uri="{BB962C8B-B14F-4D97-AF65-F5344CB8AC3E}">
        <p14:creationId xmlns:p14="http://schemas.microsoft.com/office/powerpoint/2010/main" val="9088350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432">
          <p15:clr>
            <a:srgbClr val="FBAE40"/>
          </p15:clr>
        </p15:guide>
        <p15:guide id="3" pos="7248">
          <p15:clr>
            <a:srgbClr val="FBAE40"/>
          </p15:clr>
        </p15:guide>
        <p15:guide id="4" orient="horz" pos="432">
          <p15:clr>
            <a:srgbClr val="FBAE40"/>
          </p15:clr>
        </p15:guide>
        <p15:guide id="5" orient="horz" pos="3888">
          <p15:clr>
            <a:srgbClr val="FBAE40"/>
          </p15:clr>
        </p15:guide>
        <p15:guide id="6" pos="3840">
          <p15:clr>
            <a:srgbClr val="FBAE40"/>
          </p15:clr>
        </p15:guide>
        <p15:guide id="7" pos="1128">
          <p15:clr>
            <a:srgbClr val="FBAE40"/>
          </p15:clr>
        </p15:guide>
        <p15:guide id="8" pos="6552">
          <p15:clr>
            <a:srgbClr val="FBAE40"/>
          </p15:clr>
        </p15:guide>
        <p15:guide id="9" orient="horz" pos="1944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5" hasCustomPrompt="1"/>
          </p:nvPr>
        </p:nvSpPr>
        <p:spPr>
          <a:xfrm>
            <a:off x="5799789" y="1318230"/>
            <a:ext cx="4221542" cy="4221540"/>
          </a:xfrm>
          <a:custGeom>
            <a:avLst/>
            <a:gdLst>
              <a:gd name="connsiteX0" fmla="*/ 2519980 w 3086928"/>
              <a:gd name="connsiteY0" fmla="*/ 2436982 h 3086928"/>
              <a:gd name="connsiteX1" fmla="*/ 3086928 w 3086928"/>
              <a:gd name="connsiteY1" fmla="*/ 3003931 h 3086928"/>
              <a:gd name="connsiteX2" fmla="*/ 3003931 w 3086928"/>
              <a:gd name="connsiteY2" fmla="*/ 3086928 h 3086928"/>
              <a:gd name="connsiteX3" fmla="*/ 2436982 w 3086928"/>
              <a:gd name="connsiteY3" fmla="*/ 2519979 h 3086928"/>
              <a:gd name="connsiteX4" fmla="*/ 2480463 w 3086928"/>
              <a:gd name="connsiteY4" fmla="*/ 2480462 h 3086928"/>
              <a:gd name="connsiteX5" fmla="*/ 566949 w 3086928"/>
              <a:gd name="connsiteY5" fmla="*/ 649945 h 3086928"/>
              <a:gd name="connsiteX6" fmla="*/ 2436982 w 3086928"/>
              <a:gd name="connsiteY6" fmla="*/ 2519979 h 3086928"/>
              <a:gd name="connsiteX7" fmla="*/ 2386361 w 3086928"/>
              <a:gd name="connsiteY7" fmla="*/ 2565987 h 3086928"/>
              <a:gd name="connsiteX8" fmla="*/ 1543464 w 3086928"/>
              <a:gd name="connsiteY8" fmla="*/ 2868579 h 3086928"/>
              <a:gd name="connsiteX9" fmla="*/ 218348 w 3086928"/>
              <a:gd name="connsiteY9" fmla="*/ 1543463 h 3086928"/>
              <a:gd name="connsiteX10" fmla="*/ 520940 w 3086928"/>
              <a:gd name="connsiteY10" fmla="*/ 700567 h 3086928"/>
              <a:gd name="connsiteX11" fmla="*/ 1543464 w 3086928"/>
              <a:gd name="connsiteY11" fmla="*/ 218347 h 3086928"/>
              <a:gd name="connsiteX12" fmla="*/ 2868580 w 3086928"/>
              <a:gd name="connsiteY12" fmla="*/ 1543463 h 3086928"/>
              <a:gd name="connsiteX13" fmla="*/ 2565988 w 3086928"/>
              <a:gd name="connsiteY13" fmla="*/ 2386360 h 3086928"/>
              <a:gd name="connsiteX14" fmla="*/ 2519980 w 3086928"/>
              <a:gd name="connsiteY14" fmla="*/ 2436982 h 3086928"/>
              <a:gd name="connsiteX15" fmla="*/ 649945 w 3086928"/>
              <a:gd name="connsiteY15" fmla="*/ 566948 h 3086928"/>
              <a:gd name="connsiteX16" fmla="*/ 700568 w 3086928"/>
              <a:gd name="connsiteY16" fmla="*/ 520939 h 3086928"/>
              <a:gd name="connsiteX17" fmla="*/ 1543464 w 3086928"/>
              <a:gd name="connsiteY17" fmla="*/ 218347 h 3086928"/>
              <a:gd name="connsiteX18" fmla="*/ 82997 w 3086928"/>
              <a:gd name="connsiteY18" fmla="*/ 0 h 3086928"/>
              <a:gd name="connsiteX19" fmla="*/ 649945 w 3086928"/>
              <a:gd name="connsiteY19" fmla="*/ 566948 h 3086928"/>
              <a:gd name="connsiteX20" fmla="*/ 606466 w 3086928"/>
              <a:gd name="connsiteY20" fmla="*/ 606465 h 3086928"/>
              <a:gd name="connsiteX21" fmla="*/ 566949 w 3086928"/>
              <a:gd name="connsiteY21" fmla="*/ 649945 h 3086928"/>
              <a:gd name="connsiteX22" fmla="*/ 0 w 3086928"/>
              <a:gd name="connsiteY22" fmla="*/ 82996 h 30869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086928" h="3086928">
                <a:moveTo>
                  <a:pt x="2519980" y="2436982"/>
                </a:moveTo>
                <a:lnTo>
                  <a:pt x="3086928" y="3003931"/>
                </a:lnTo>
                <a:lnTo>
                  <a:pt x="3003931" y="3086928"/>
                </a:lnTo>
                <a:lnTo>
                  <a:pt x="2436982" y="2519979"/>
                </a:lnTo>
                <a:lnTo>
                  <a:pt x="2480463" y="2480462"/>
                </a:lnTo>
                <a:close/>
                <a:moveTo>
                  <a:pt x="566949" y="649945"/>
                </a:moveTo>
                <a:lnTo>
                  <a:pt x="2436982" y="2519979"/>
                </a:lnTo>
                <a:lnTo>
                  <a:pt x="2386361" y="2565987"/>
                </a:lnTo>
                <a:cubicBezTo>
                  <a:pt x="2157303" y="2755023"/>
                  <a:pt x="1863645" y="2868579"/>
                  <a:pt x="1543464" y="2868579"/>
                </a:cubicBezTo>
                <a:cubicBezTo>
                  <a:pt x="811623" y="2868579"/>
                  <a:pt x="218348" y="2275304"/>
                  <a:pt x="218348" y="1543463"/>
                </a:cubicBezTo>
                <a:cubicBezTo>
                  <a:pt x="218348" y="1223283"/>
                  <a:pt x="331905" y="929625"/>
                  <a:pt x="520940" y="700567"/>
                </a:cubicBezTo>
                <a:close/>
                <a:moveTo>
                  <a:pt x="1543464" y="218347"/>
                </a:moveTo>
                <a:cubicBezTo>
                  <a:pt x="2275305" y="218347"/>
                  <a:pt x="2868580" y="811622"/>
                  <a:pt x="2868580" y="1543463"/>
                </a:cubicBezTo>
                <a:cubicBezTo>
                  <a:pt x="2868580" y="1863644"/>
                  <a:pt x="2755024" y="2157302"/>
                  <a:pt x="2565988" y="2386360"/>
                </a:cubicBezTo>
                <a:lnTo>
                  <a:pt x="2519980" y="2436982"/>
                </a:lnTo>
                <a:lnTo>
                  <a:pt x="649945" y="566948"/>
                </a:lnTo>
                <a:lnTo>
                  <a:pt x="700568" y="520939"/>
                </a:lnTo>
                <a:cubicBezTo>
                  <a:pt x="929626" y="331904"/>
                  <a:pt x="1223284" y="218347"/>
                  <a:pt x="1543464" y="218347"/>
                </a:cubicBezTo>
                <a:close/>
                <a:moveTo>
                  <a:pt x="82997" y="0"/>
                </a:moveTo>
                <a:lnTo>
                  <a:pt x="649945" y="566948"/>
                </a:lnTo>
                <a:lnTo>
                  <a:pt x="606466" y="606465"/>
                </a:lnTo>
                <a:lnTo>
                  <a:pt x="566949" y="649945"/>
                </a:lnTo>
                <a:lnTo>
                  <a:pt x="0" y="82996"/>
                </a:lnTo>
                <a:close/>
              </a:path>
            </a:pathLst>
          </a:cu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</p:spTree>
    <p:extLst>
      <p:ext uri="{BB962C8B-B14F-4D97-AF65-F5344CB8AC3E}">
        <p14:creationId xmlns:p14="http://schemas.microsoft.com/office/powerpoint/2010/main" val="10127073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432">
          <p15:clr>
            <a:srgbClr val="FBAE40"/>
          </p15:clr>
        </p15:guide>
        <p15:guide id="3" pos="7248">
          <p15:clr>
            <a:srgbClr val="FBAE40"/>
          </p15:clr>
        </p15:guide>
        <p15:guide id="4" orient="horz" pos="432">
          <p15:clr>
            <a:srgbClr val="FBAE40"/>
          </p15:clr>
        </p15:guide>
        <p15:guide id="5" orient="horz" pos="3888">
          <p15:clr>
            <a:srgbClr val="FBAE40"/>
          </p15:clr>
        </p15:guide>
        <p15:guide id="6" pos="3840">
          <p15:clr>
            <a:srgbClr val="FBAE40"/>
          </p15:clr>
        </p15:guide>
        <p15:guide id="7" pos="1128">
          <p15:clr>
            <a:srgbClr val="FBAE40"/>
          </p15:clr>
        </p15:guide>
        <p15:guide id="8" pos="6552">
          <p15:clr>
            <a:srgbClr val="FBAE40"/>
          </p15:clr>
        </p15:guide>
        <p15:guide id="9" orient="horz" pos="1944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5" hasCustomPrompt="1"/>
          </p:nvPr>
        </p:nvSpPr>
        <p:spPr>
          <a:xfrm>
            <a:off x="3431059" y="764060"/>
            <a:ext cx="5329882" cy="5329880"/>
          </a:xfrm>
          <a:custGeom>
            <a:avLst/>
            <a:gdLst>
              <a:gd name="connsiteX0" fmla="*/ 2519980 w 3086928"/>
              <a:gd name="connsiteY0" fmla="*/ 2436982 h 3086928"/>
              <a:gd name="connsiteX1" fmla="*/ 3086928 w 3086928"/>
              <a:gd name="connsiteY1" fmla="*/ 3003931 h 3086928"/>
              <a:gd name="connsiteX2" fmla="*/ 3003931 w 3086928"/>
              <a:gd name="connsiteY2" fmla="*/ 3086928 h 3086928"/>
              <a:gd name="connsiteX3" fmla="*/ 2436982 w 3086928"/>
              <a:gd name="connsiteY3" fmla="*/ 2519979 h 3086928"/>
              <a:gd name="connsiteX4" fmla="*/ 2480463 w 3086928"/>
              <a:gd name="connsiteY4" fmla="*/ 2480462 h 3086928"/>
              <a:gd name="connsiteX5" fmla="*/ 566949 w 3086928"/>
              <a:gd name="connsiteY5" fmla="*/ 649945 h 3086928"/>
              <a:gd name="connsiteX6" fmla="*/ 2436982 w 3086928"/>
              <a:gd name="connsiteY6" fmla="*/ 2519979 h 3086928"/>
              <a:gd name="connsiteX7" fmla="*/ 2386361 w 3086928"/>
              <a:gd name="connsiteY7" fmla="*/ 2565987 h 3086928"/>
              <a:gd name="connsiteX8" fmla="*/ 1543464 w 3086928"/>
              <a:gd name="connsiteY8" fmla="*/ 2868579 h 3086928"/>
              <a:gd name="connsiteX9" fmla="*/ 218348 w 3086928"/>
              <a:gd name="connsiteY9" fmla="*/ 1543463 h 3086928"/>
              <a:gd name="connsiteX10" fmla="*/ 520940 w 3086928"/>
              <a:gd name="connsiteY10" fmla="*/ 700567 h 3086928"/>
              <a:gd name="connsiteX11" fmla="*/ 1543464 w 3086928"/>
              <a:gd name="connsiteY11" fmla="*/ 218347 h 3086928"/>
              <a:gd name="connsiteX12" fmla="*/ 2868580 w 3086928"/>
              <a:gd name="connsiteY12" fmla="*/ 1543463 h 3086928"/>
              <a:gd name="connsiteX13" fmla="*/ 2565988 w 3086928"/>
              <a:gd name="connsiteY13" fmla="*/ 2386360 h 3086928"/>
              <a:gd name="connsiteX14" fmla="*/ 2519980 w 3086928"/>
              <a:gd name="connsiteY14" fmla="*/ 2436982 h 3086928"/>
              <a:gd name="connsiteX15" fmla="*/ 649945 w 3086928"/>
              <a:gd name="connsiteY15" fmla="*/ 566948 h 3086928"/>
              <a:gd name="connsiteX16" fmla="*/ 700568 w 3086928"/>
              <a:gd name="connsiteY16" fmla="*/ 520939 h 3086928"/>
              <a:gd name="connsiteX17" fmla="*/ 1543464 w 3086928"/>
              <a:gd name="connsiteY17" fmla="*/ 218347 h 3086928"/>
              <a:gd name="connsiteX18" fmla="*/ 82997 w 3086928"/>
              <a:gd name="connsiteY18" fmla="*/ 0 h 3086928"/>
              <a:gd name="connsiteX19" fmla="*/ 649945 w 3086928"/>
              <a:gd name="connsiteY19" fmla="*/ 566948 h 3086928"/>
              <a:gd name="connsiteX20" fmla="*/ 606466 w 3086928"/>
              <a:gd name="connsiteY20" fmla="*/ 606465 h 3086928"/>
              <a:gd name="connsiteX21" fmla="*/ 566949 w 3086928"/>
              <a:gd name="connsiteY21" fmla="*/ 649945 h 3086928"/>
              <a:gd name="connsiteX22" fmla="*/ 0 w 3086928"/>
              <a:gd name="connsiteY22" fmla="*/ 82996 h 30869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086928" h="3086928">
                <a:moveTo>
                  <a:pt x="2519980" y="2436982"/>
                </a:moveTo>
                <a:lnTo>
                  <a:pt x="3086928" y="3003931"/>
                </a:lnTo>
                <a:lnTo>
                  <a:pt x="3003931" y="3086928"/>
                </a:lnTo>
                <a:lnTo>
                  <a:pt x="2436982" y="2519979"/>
                </a:lnTo>
                <a:lnTo>
                  <a:pt x="2480463" y="2480462"/>
                </a:lnTo>
                <a:close/>
                <a:moveTo>
                  <a:pt x="566949" y="649945"/>
                </a:moveTo>
                <a:lnTo>
                  <a:pt x="2436982" y="2519979"/>
                </a:lnTo>
                <a:lnTo>
                  <a:pt x="2386361" y="2565987"/>
                </a:lnTo>
                <a:cubicBezTo>
                  <a:pt x="2157303" y="2755023"/>
                  <a:pt x="1863645" y="2868579"/>
                  <a:pt x="1543464" y="2868579"/>
                </a:cubicBezTo>
                <a:cubicBezTo>
                  <a:pt x="811623" y="2868579"/>
                  <a:pt x="218348" y="2275304"/>
                  <a:pt x="218348" y="1543463"/>
                </a:cubicBezTo>
                <a:cubicBezTo>
                  <a:pt x="218348" y="1223283"/>
                  <a:pt x="331905" y="929625"/>
                  <a:pt x="520940" y="700567"/>
                </a:cubicBezTo>
                <a:close/>
                <a:moveTo>
                  <a:pt x="1543464" y="218347"/>
                </a:moveTo>
                <a:cubicBezTo>
                  <a:pt x="2275305" y="218347"/>
                  <a:pt x="2868580" y="811622"/>
                  <a:pt x="2868580" y="1543463"/>
                </a:cubicBezTo>
                <a:cubicBezTo>
                  <a:pt x="2868580" y="1863644"/>
                  <a:pt x="2755024" y="2157302"/>
                  <a:pt x="2565988" y="2386360"/>
                </a:cubicBezTo>
                <a:lnTo>
                  <a:pt x="2519980" y="2436982"/>
                </a:lnTo>
                <a:lnTo>
                  <a:pt x="649945" y="566948"/>
                </a:lnTo>
                <a:lnTo>
                  <a:pt x="700568" y="520939"/>
                </a:lnTo>
                <a:cubicBezTo>
                  <a:pt x="929626" y="331904"/>
                  <a:pt x="1223284" y="218347"/>
                  <a:pt x="1543464" y="218347"/>
                </a:cubicBezTo>
                <a:close/>
                <a:moveTo>
                  <a:pt x="82997" y="0"/>
                </a:moveTo>
                <a:lnTo>
                  <a:pt x="649945" y="566948"/>
                </a:lnTo>
                <a:lnTo>
                  <a:pt x="606466" y="606465"/>
                </a:lnTo>
                <a:lnTo>
                  <a:pt x="566949" y="649945"/>
                </a:lnTo>
                <a:lnTo>
                  <a:pt x="0" y="82996"/>
                </a:lnTo>
                <a:close/>
              </a:path>
            </a:pathLst>
          </a:cu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</p:spTree>
    <p:extLst>
      <p:ext uri="{BB962C8B-B14F-4D97-AF65-F5344CB8AC3E}">
        <p14:creationId xmlns:p14="http://schemas.microsoft.com/office/powerpoint/2010/main" val="12102154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432">
          <p15:clr>
            <a:srgbClr val="FBAE40"/>
          </p15:clr>
        </p15:guide>
        <p15:guide id="3" pos="7248">
          <p15:clr>
            <a:srgbClr val="FBAE40"/>
          </p15:clr>
        </p15:guide>
        <p15:guide id="4" orient="horz" pos="432">
          <p15:clr>
            <a:srgbClr val="FBAE40"/>
          </p15:clr>
        </p15:guide>
        <p15:guide id="5" orient="horz" pos="3888">
          <p15:clr>
            <a:srgbClr val="FBAE40"/>
          </p15:clr>
        </p15:guide>
        <p15:guide id="6" pos="3840">
          <p15:clr>
            <a:srgbClr val="FBAE40"/>
          </p15:clr>
        </p15:guide>
        <p15:guide id="7" pos="1128">
          <p15:clr>
            <a:srgbClr val="FBAE40"/>
          </p15:clr>
        </p15:guide>
        <p15:guide id="8" pos="6552">
          <p15:clr>
            <a:srgbClr val="FBAE40"/>
          </p15:clr>
        </p15:guide>
        <p15:guide id="9" orient="horz" pos="1944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5391665" y="694448"/>
            <a:ext cx="2108886" cy="2391651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8292414" y="3086100"/>
            <a:ext cx="2108886" cy="3086100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</p:spTree>
    <p:extLst>
      <p:ext uri="{BB962C8B-B14F-4D97-AF65-F5344CB8AC3E}">
        <p14:creationId xmlns:p14="http://schemas.microsoft.com/office/powerpoint/2010/main" val="19531979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432">
          <p15:clr>
            <a:srgbClr val="FBAE40"/>
          </p15:clr>
        </p15:guide>
        <p15:guide id="3" pos="7248">
          <p15:clr>
            <a:srgbClr val="FBAE40"/>
          </p15:clr>
        </p15:guide>
        <p15:guide id="4" orient="horz" pos="432">
          <p15:clr>
            <a:srgbClr val="FBAE40"/>
          </p15:clr>
        </p15:guide>
        <p15:guide id="5" orient="horz" pos="3888">
          <p15:clr>
            <a:srgbClr val="FBAE40"/>
          </p15:clr>
        </p15:guide>
        <p15:guide id="6" pos="3840">
          <p15:clr>
            <a:srgbClr val="FBAE40"/>
          </p15:clr>
        </p15:guide>
        <p15:guide id="7" pos="1128">
          <p15:clr>
            <a:srgbClr val="FBAE40"/>
          </p15:clr>
        </p15:guide>
        <p15:guide id="8" pos="6552">
          <p15:clr>
            <a:srgbClr val="FBAE40"/>
          </p15:clr>
        </p15:guide>
        <p15:guide id="9" orient="horz" pos="1944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8292414" y="3086100"/>
            <a:ext cx="2108886" cy="3086100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  <p:sp>
        <p:nvSpPr>
          <p:cNvPr id="4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5041557" y="685800"/>
            <a:ext cx="2108886" cy="3086100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  <p:sp>
        <p:nvSpPr>
          <p:cNvPr id="5" name="Picture Placeholder 2"/>
          <p:cNvSpPr>
            <a:spLocks noGrp="1"/>
          </p:cNvSpPr>
          <p:nvPr>
            <p:ph type="pic" sz="quarter" idx="15" hasCustomPrompt="1"/>
          </p:nvPr>
        </p:nvSpPr>
        <p:spPr>
          <a:xfrm>
            <a:off x="1790700" y="3086100"/>
            <a:ext cx="2108886" cy="3086100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</p:spTree>
    <p:extLst>
      <p:ext uri="{BB962C8B-B14F-4D97-AF65-F5344CB8AC3E}">
        <p14:creationId xmlns:p14="http://schemas.microsoft.com/office/powerpoint/2010/main" val="934618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432">
          <p15:clr>
            <a:srgbClr val="FBAE40"/>
          </p15:clr>
        </p15:guide>
        <p15:guide id="3" pos="7248">
          <p15:clr>
            <a:srgbClr val="FBAE40"/>
          </p15:clr>
        </p15:guide>
        <p15:guide id="4" orient="horz" pos="432">
          <p15:clr>
            <a:srgbClr val="FBAE40"/>
          </p15:clr>
        </p15:guide>
        <p15:guide id="5" orient="horz" pos="3888">
          <p15:clr>
            <a:srgbClr val="FBAE40"/>
          </p15:clr>
        </p15:guide>
        <p15:guide id="6" pos="3840">
          <p15:clr>
            <a:srgbClr val="FBAE40"/>
          </p15:clr>
        </p15:guide>
        <p15:guide id="7" pos="1128">
          <p15:clr>
            <a:srgbClr val="FBAE40"/>
          </p15:clr>
        </p15:guide>
        <p15:guide id="8" pos="6552">
          <p15:clr>
            <a:srgbClr val="FBAE40"/>
          </p15:clr>
        </p15:guide>
        <p15:guide id="9" orient="horz" pos="1944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5" hasCustomPrompt="1"/>
          </p:nvPr>
        </p:nvSpPr>
        <p:spPr>
          <a:xfrm>
            <a:off x="1790699" y="3429000"/>
            <a:ext cx="2865738" cy="2743200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  <p:sp>
        <p:nvSpPr>
          <p:cNvPr id="6" name="Picture Placeholder 2"/>
          <p:cNvSpPr>
            <a:spLocks noGrp="1"/>
          </p:cNvSpPr>
          <p:nvPr>
            <p:ph type="pic" sz="quarter" idx="16" hasCustomPrompt="1"/>
          </p:nvPr>
        </p:nvSpPr>
        <p:spPr>
          <a:xfrm>
            <a:off x="4663131" y="685800"/>
            <a:ext cx="2865738" cy="2743200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7528869" y="3429000"/>
            <a:ext cx="2865738" cy="2743200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</p:spTree>
    <p:extLst>
      <p:ext uri="{BB962C8B-B14F-4D97-AF65-F5344CB8AC3E}">
        <p14:creationId xmlns:p14="http://schemas.microsoft.com/office/powerpoint/2010/main" val="1574788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432">
          <p15:clr>
            <a:srgbClr val="FBAE40"/>
          </p15:clr>
        </p15:guide>
        <p15:guide id="3" pos="7248">
          <p15:clr>
            <a:srgbClr val="FBAE40"/>
          </p15:clr>
        </p15:guide>
        <p15:guide id="4" orient="horz" pos="432">
          <p15:clr>
            <a:srgbClr val="FBAE40"/>
          </p15:clr>
        </p15:guide>
        <p15:guide id="5" orient="horz" pos="3888">
          <p15:clr>
            <a:srgbClr val="FBAE40"/>
          </p15:clr>
        </p15:guide>
        <p15:guide id="6" pos="3840">
          <p15:clr>
            <a:srgbClr val="FBAE40"/>
          </p15:clr>
        </p15:guide>
        <p15:guide id="7" pos="1128">
          <p15:clr>
            <a:srgbClr val="FBAE40"/>
          </p15:clr>
        </p15:guide>
        <p15:guide id="8" pos="6552">
          <p15:clr>
            <a:srgbClr val="FBAE40"/>
          </p15:clr>
        </p15:guide>
        <p15:guide id="9" orient="horz" pos="1944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5" hasCustomPrompt="1"/>
          </p:nvPr>
        </p:nvSpPr>
        <p:spPr>
          <a:xfrm>
            <a:off x="1790700" y="3429000"/>
            <a:ext cx="4305300" cy="2743200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  <p:sp>
        <p:nvSpPr>
          <p:cNvPr id="6" name="Picture Placeholder 2"/>
          <p:cNvSpPr>
            <a:spLocks noGrp="1"/>
          </p:cNvSpPr>
          <p:nvPr>
            <p:ph type="pic" sz="quarter" idx="16" hasCustomPrompt="1"/>
          </p:nvPr>
        </p:nvSpPr>
        <p:spPr>
          <a:xfrm>
            <a:off x="6096000" y="685800"/>
            <a:ext cx="4305300" cy="2743200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</p:spTree>
    <p:extLst>
      <p:ext uri="{BB962C8B-B14F-4D97-AF65-F5344CB8AC3E}">
        <p14:creationId xmlns:p14="http://schemas.microsoft.com/office/powerpoint/2010/main" val="20634492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432">
          <p15:clr>
            <a:srgbClr val="FBAE40"/>
          </p15:clr>
        </p15:guide>
        <p15:guide id="3" pos="7248">
          <p15:clr>
            <a:srgbClr val="FBAE40"/>
          </p15:clr>
        </p15:guide>
        <p15:guide id="4" orient="horz" pos="432">
          <p15:clr>
            <a:srgbClr val="FBAE40"/>
          </p15:clr>
        </p15:guide>
        <p15:guide id="5" orient="horz" pos="3888">
          <p15:clr>
            <a:srgbClr val="FBAE40"/>
          </p15:clr>
        </p15:guide>
        <p15:guide id="6" pos="3840">
          <p15:clr>
            <a:srgbClr val="FBAE40"/>
          </p15:clr>
        </p15:guide>
        <p15:guide id="7" pos="1128">
          <p15:clr>
            <a:srgbClr val="FBAE40"/>
          </p15:clr>
        </p15:guide>
        <p15:guide id="8" pos="6552">
          <p15:clr>
            <a:srgbClr val="FBAE40"/>
          </p15:clr>
        </p15:guide>
        <p15:guide id="9" orient="horz" pos="1944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1790699" y="1600200"/>
            <a:ext cx="3657600" cy="3657600"/>
          </a:xfrm>
          <a:custGeom>
            <a:avLst/>
            <a:gdLst>
              <a:gd name="connsiteX0" fmla="*/ 228600 w 3657600"/>
              <a:gd name="connsiteY0" fmla="*/ 228600 h 3657600"/>
              <a:gd name="connsiteX1" fmla="*/ 228600 w 3657600"/>
              <a:gd name="connsiteY1" fmla="*/ 3429000 h 3657600"/>
              <a:gd name="connsiteX2" fmla="*/ 3429000 w 3657600"/>
              <a:gd name="connsiteY2" fmla="*/ 3429000 h 3657600"/>
              <a:gd name="connsiteX3" fmla="*/ 3429000 w 3657600"/>
              <a:gd name="connsiteY3" fmla="*/ 228600 h 3657600"/>
              <a:gd name="connsiteX4" fmla="*/ 0 w 3657600"/>
              <a:gd name="connsiteY4" fmla="*/ 0 h 3657600"/>
              <a:gd name="connsiteX5" fmla="*/ 3657600 w 3657600"/>
              <a:gd name="connsiteY5" fmla="*/ 0 h 3657600"/>
              <a:gd name="connsiteX6" fmla="*/ 3657600 w 3657600"/>
              <a:gd name="connsiteY6" fmla="*/ 3657600 h 3657600"/>
              <a:gd name="connsiteX7" fmla="*/ 0 w 3657600"/>
              <a:gd name="connsiteY7" fmla="*/ 3657600 h 3657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657600" h="3657600">
                <a:moveTo>
                  <a:pt x="228600" y="228600"/>
                </a:moveTo>
                <a:lnTo>
                  <a:pt x="228600" y="3429000"/>
                </a:lnTo>
                <a:lnTo>
                  <a:pt x="3429000" y="3429000"/>
                </a:lnTo>
                <a:lnTo>
                  <a:pt x="3429000" y="228600"/>
                </a:lnTo>
                <a:close/>
                <a:moveTo>
                  <a:pt x="0" y="0"/>
                </a:moveTo>
                <a:lnTo>
                  <a:pt x="3657600" y="0"/>
                </a:lnTo>
                <a:lnTo>
                  <a:pt x="3657600" y="3657600"/>
                </a:lnTo>
                <a:lnTo>
                  <a:pt x="0" y="3657600"/>
                </a:lnTo>
                <a:close/>
              </a:path>
            </a:pathLst>
          </a:cu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</p:spTree>
    <p:extLst>
      <p:ext uri="{BB962C8B-B14F-4D97-AF65-F5344CB8AC3E}">
        <p14:creationId xmlns:p14="http://schemas.microsoft.com/office/powerpoint/2010/main" val="2626926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432">
          <p15:clr>
            <a:srgbClr val="FBAE40"/>
          </p15:clr>
        </p15:guide>
        <p15:guide id="3" pos="7248">
          <p15:clr>
            <a:srgbClr val="FBAE40"/>
          </p15:clr>
        </p15:guide>
        <p15:guide id="4" orient="horz" pos="432">
          <p15:clr>
            <a:srgbClr val="FBAE40"/>
          </p15:clr>
        </p15:guide>
        <p15:guide id="5" orient="horz" pos="3888">
          <p15:clr>
            <a:srgbClr val="FBAE40"/>
          </p15:clr>
        </p15:guide>
        <p15:guide id="6" pos="3840">
          <p15:clr>
            <a:srgbClr val="FBAE40"/>
          </p15:clr>
        </p15:guide>
        <p15:guide id="7" pos="1128">
          <p15:clr>
            <a:srgbClr val="FBAE40"/>
          </p15:clr>
        </p15:guide>
        <p15:guide id="8" pos="6552">
          <p15:clr>
            <a:srgbClr val="FBAE40"/>
          </p15:clr>
        </p15:guide>
        <p15:guide id="9" orient="horz" pos="1944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FB2797A-26FD-46EA-9D0C-E848F70815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CAC662F0-0658-41EC-B095-6985CC7A253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9BD61358-B985-4632-B590-E9BFF5A12D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9119D7-2FBC-4F83-A026-8130C33FCB18}" type="datetimeFigureOut">
              <a:rPr lang="pt-BR" smtClean="0"/>
              <a:t>28/05/2020</a:t>
            </a:fld>
            <a:endParaRPr lang="pt-BR" dirty="0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60146184-548C-4221-BDCF-04FC989784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88E2479C-5980-4675-9220-263EE5F064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E52A2C-AB07-465E-8D9E-A068A3346A45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2129205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D5A8ACB-3B5A-40F7-BA59-7AFB6394F4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7BA7887B-3D62-4A86-8D87-F482211A05B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BD35BFD1-6618-4C95-802D-FDFBF9234B7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F964A0E0-A76E-4CE5-8EFE-6C1C252B23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3A656C-BD5A-450D-8E27-5AFFED385077}" type="datetimeFigureOut">
              <a:rPr lang="pt-BR" smtClean="0"/>
              <a:t>28/05/2020</a:t>
            </a:fld>
            <a:endParaRPr lang="pt-BR" dirty="0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F4334DA0-A30D-418C-916D-A5E91F8593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E18DFB5C-7FB6-4C85-A786-50DD1618CE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E774B9-B12C-4857-9133-C2FE22381242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085109095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BD52BAE-9E4A-485E-8030-C55C5535CE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7A0557B8-3663-428A-A972-86F73DDBBDC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71861311-0F35-4A59-B695-D325675CD9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9119D7-2FBC-4F83-A026-8130C33FCB18}" type="datetimeFigureOut">
              <a:rPr lang="pt-BR" smtClean="0"/>
              <a:t>28/05/2020</a:t>
            </a:fld>
            <a:endParaRPr lang="pt-BR" dirty="0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67B18482-E543-44E6-9E28-F70F5D71F4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50AA2F81-B616-455B-89C4-73883A9B8D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E52A2C-AB07-465E-8D9E-A068A3346A45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334803733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4EF846F-4A8F-4814-A862-B15A24EFC3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3FF93C9F-81AC-4273-8E73-B6A5A425216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2B88B556-59E7-4D65-8B7B-C69548D776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9119D7-2FBC-4F83-A026-8130C33FCB18}" type="datetimeFigureOut">
              <a:rPr lang="pt-BR" smtClean="0"/>
              <a:t>28/05/2020</a:t>
            </a:fld>
            <a:endParaRPr lang="pt-BR" dirty="0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6236B370-F71C-4BFF-A52C-25D8604366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B126AC03-EAE6-4BA5-BC77-3E7B7A5666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E52A2C-AB07-465E-8D9E-A068A3346A45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064309648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1A68116-D31D-44B8-ADB0-C7F8D1D9DF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2E943F6E-B53E-4D2C-BB8A-8ACC5005387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6DA0D99C-C919-4056-9002-CF3B5A517BE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7B4F676D-8FD0-42E0-A17B-83E7ACA03F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9119D7-2FBC-4F83-A026-8130C33FCB18}" type="datetimeFigureOut">
              <a:rPr lang="pt-BR" smtClean="0"/>
              <a:t>28/05/2020</a:t>
            </a:fld>
            <a:endParaRPr lang="pt-BR" dirty="0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E6DDF5F1-9ACB-471F-9759-CE7D45F9EE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D15C2988-DAEC-4932-82B2-C7EDE5CAF4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E52A2C-AB07-465E-8D9E-A068A3346A45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178387498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32C1242-0BC6-4E31-BED5-7185FBE942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8380A41D-30A3-4237-8DAD-C797A07F3B5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6A4F4943-FCE3-4414-8CC0-EF3C8C8AF57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C4509F0F-8073-4CD9-820A-319D32F7245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6EE072F4-CA0E-415A-AC41-4260BFB982E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5497D910-DEEF-4900-BA35-2D890650E5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9119D7-2FBC-4F83-A026-8130C33FCB18}" type="datetimeFigureOut">
              <a:rPr lang="pt-BR" smtClean="0"/>
              <a:t>28/05/2020</a:t>
            </a:fld>
            <a:endParaRPr lang="pt-BR" dirty="0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3994A89B-40DB-4577-9F64-8FB521C6DE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9" name="Espaço Reservado para Número de Slide 8">
            <a:extLst>
              <a:ext uri="{FF2B5EF4-FFF2-40B4-BE49-F238E27FC236}">
                <a16:creationId xmlns:a16="http://schemas.microsoft.com/office/drawing/2014/main" id="{68FB0723-422B-415F-AF3C-FE3D040509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E52A2C-AB07-465E-8D9E-A068A3346A45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781098378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1D05926-01AA-4BF6-8B0F-2B34DE09A2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260549A4-1FAC-4497-B38F-55162EE7F7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9119D7-2FBC-4F83-A026-8130C33FCB18}" type="datetimeFigureOut">
              <a:rPr lang="pt-BR" smtClean="0"/>
              <a:t>28/05/2020</a:t>
            </a:fld>
            <a:endParaRPr lang="pt-BR" dirty="0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63104EC1-01CF-4B3E-9E1A-9161E9D265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76A9B85D-6B8D-41AA-9EBE-09DF442671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E52A2C-AB07-465E-8D9E-A068A3346A45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965154151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7611B6C0-C025-43DD-8E4B-65C46B6AE2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9119D7-2FBC-4F83-A026-8130C33FCB18}" type="datetimeFigureOut">
              <a:rPr lang="pt-BR" smtClean="0"/>
              <a:t>28/05/2020</a:t>
            </a:fld>
            <a:endParaRPr lang="pt-BR" dirty="0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FF7974D9-FBAF-4D5E-8062-F5906AFEA0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2BD80B89-0412-4CDA-9EAC-DE6BDBAB6A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E52A2C-AB07-465E-8D9E-A068A3346A45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723070455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F8B0E53-23E4-456E-9185-6208686E8A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D364450A-DBA6-43B0-B7F2-A8D4452E300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BD1767FC-27D0-4C8E-9A81-411B5008518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DBEDCD6E-CC41-41F8-AFF4-E3EE3D0E52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9119D7-2FBC-4F83-A026-8130C33FCB18}" type="datetimeFigureOut">
              <a:rPr lang="pt-BR" smtClean="0"/>
              <a:t>28/05/2020</a:t>
            </a:fld>
            <a:endParaRPr lang="pt-BR" dirty="0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6173E360-EBDD-493E-B7D6-5F55812191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730ADCB0-CD14-4F49-955C-08F5A36A67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E52A2C-AB07-465E-8D9E-A068A3346A45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13166506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1B5603F-3487-4199-AC1D-F2FFFA49E0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343B38CF-0E9B-4DEE-8D0A-06AB3617945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 dirty="0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3D8ADCB4-611B-4FDD-8DF4-C2019A533AB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93AA5EA1-4265-450B-AF2A-A6DB0D7B63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9119D7-2FBC-4F83-A026-8130C33FCB18}" type="datetimeFigureOut">
              <a:rPr lang="pt-BR" smtClean="0"/>
              <a:t>28/05/2020</a:t>
            </a:fld>
            <a:endParaRPr lang="pt-BR" dirty="0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6BFB9AEC-E751-4F27-BC51-57A85EEA55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382AD8EF-3EE8-49DB-860B-8FB27B0996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E52A2C-AB07-465E-8D9E-A068A3346A45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690118481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C5D2A9C-0B30-419F-8108-409ED8310E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D6F3FED1-58EE-45FE-B834-0B03F75877B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8A7E49F2-5DBB-460C-9F85-B8E33961D7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9119D7-2FBC-4F83-A026-8130C33FCB18}" type="datetimeFigureOut">
              <a:rPr lang="pt-BR" smtClean="0"/>
              <a:t>28/05/2020</a:t>
            </a:fld>
            <a:endParaRPr lang="pt-BR" dirty="0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7F9765D2-15F3-40F1-9935-D7B9840AC6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90749DAB-2014-4148-A123-8FB53FA879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E52A2C-AB07-465E-8D9E-A068A3346A45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987409211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734159AD-B351-4139-915E-4D6CCAB2E38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54D2CBB7-19FD-44D2-848F-1DB7EE6C8BB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F43E09E6-5D51-458E-B11C-F9BDDF726C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9119D7-2FBC-4F83-A026-8130C33FCB18}" type="datetimeFigureOut">
              <a:rPr lang="pt-BR" smtClean="0"/>
              <a:t>28/05/2020</a:t>
            </a:fld>
            <a:endParaRPr lang="pt-BR" dirty="0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F0DDC79B-C4BC-42F6-9560-4737693C5F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9BCEAFF4-9254-480C-9B3E-6242031B1E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E52A2C-AB07-465E-8D9E-A068A3346A45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74877430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D02A52C-4EF9-4391-8215-9F897BBB4A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B77A41EE-980E-4EFB-911F-CB0560211B7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 dirty="0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64AEB746-E939-40EC-9859-7500B0CC0E5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73027B6C-7254-420A-9D81-178512A12B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3A656C-BD5A-450D-8E27-5AFFED385077}" type="datetimeFigureOut">
              <a:rPr lang="pt-BR" smtClean="0"/>
              <a:t>28/05/2020</a:t>
            </a:fld>
            <a:endParaRPr lang="pt-BR" dirty="0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7364CC82-26B4-416D-9616-89FEC70CA1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2712725C-14D3-429E-A2E4-367CB9522A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E774B9-B12C-4857-9133-C2FE22381242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38406251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39" Type="http://schemas.openxmlformats.org/officeDocument/2006/relationships/slideLayout" Target="../slideLayouts/slideLayout50.xml"/><Relationship Id="rId21" Type="http://schemas.openxmlformats.org/officeDocument/2006/relationships/slideLayout" Target="../slideLayouts/slideLayout32.xml"/><Relationship Id="rId34" Type="http://schemas.openxmlformats.org/officeDocument/2006/relationships/slideLayout" Target="../slideLayouts/slideLayout45.xml"/><Relationship Id="rId42" Type="http://schemas.openxmlformats.org/officeDocument/2006/relationships/slideLayout" Target="../slideLayouts/slideLayout53.xml"/><Relationship Id="rId47" Type="http://schemas.openxmlformats.org/officeDocument/2006/relationships/slideLayout" Target="../slideLayouts/slideLayout58.xml"/><Relationship Id="rId50" Type="http://schemas.openxmlformats.org/officeDocument/2006/relationships/slideLayout" Target="../slideLayouts/slideLayout61.xml"/><Relationship Id="rId55" Type="http://schemas.openxmlformats.org/officeDocument/2006/relationships/slideLayout" Target="../slideLayouts/slideLayout66.xml"/><Relationship Id="rId63" Type="http://schemas.openxmlformats.org/officeDocument/2006/relationships/slideLayout" Target="../slideLayouts/slideLayout74.xml"/><Relationship Id="rId68" Type="http://schemas.openxmlformats.org/officeDocument/2006/relationships/theme" Target="../theme/theme2.xml"/><Relationship Id="rId7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9" Type="http://schemas.openxmlformats.org/officeDocument/2006/relationships/slideLayout" Target="../slideLayouts/slideLayout40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32" Type="http://schemas.openxmlformats.org/officeDocument/2006/relationships/slideLayout" Target="../slideLayouts/slideLayout43.xml"/><Relationship Id="rId37" Type="http://schemas.openxmlformats.org/officeDocument/2006/relationships/slideLayout" Target="../slideLayouts/slideLayout48.xml"/><Relationship Id="rId40" Type="http://schemas.openxmlformats.org/officeDocument/2006/relationships/slideLayout" Target="../slideLayouts/slideLayout51.xml"/><Relationship Id="rId45" Type="http://schemas.openxmlformats.org/officeDocument/2006/relationships/slideLayout" Target="../slideLayouts/slideLayout56.xml"/><Relationship Id="rId53" Type="http://schemas.openxmlformats.org/officeDocument/2006/relationships/slideLayout" Target="../slideLayouts/slideLayout64.xml"/><Relationship Id="rId58" Type="http://schemas.openxmlformats.org/officeDocument/2006/relationships/slideLayout" Target="../slideLayouts/slideLayout69.xml"/><Relationship Id="rId66" Type="http://schemas.openxmlformats.org/officeDocument/2006/relationships/slideLayout" Target="../slideLayouts/slideLayout77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slideLayout" Target="../slideLayouts/slideLayout39.xml"/><Relationship Id="rId36" Type="http://schemas.openxmlformats.org/officeDocument/2006/relationships/slideLayout" Target="../slideLayouts/slideLayout47.xml"/><Relationship Id="rId49" Type="http://schemas.openxmlformats.org/officeDocument/2006/relationships/slideLayout" Target="../slideLayouts/slideLayout60.xml"/><Relationship Id="rId57" Type="http://schemas.openxmlformats.org/officeDocument/2006/relationships/slideLayout" Target="../slideLayouts/slideLayout68.xml"/><Relationship Id="rId61" Type="http://schemas.openxmlformats.org/officeDocument/2006/relationships/slideLayout" Target="../slideLayouts/slideLayout72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42.xml"/><Relationship Id="rId44" Type="http://schemas.openxmlformats.org/officeDocument/2006/relationships/slideLayout" Target="../slideLayouts/slideLayout55.xml"/><Relationship Id="rId52" Type="http://schemas.openxmlformats.org/officeDocument/2006/relationships/slideLayout" Target="../slideLayouts/slideLayout63.xml"/><Relationship Id="rId60" Type="http://schemas.openxmlformats.org/officeDocument/2006/relationships/slideLayout" Target="../slideLayouts/slideLayout71.xml"/><Relationship Id="rId65" Type="http://schemas.openxmlformats.org/officeDocument/2006/relationships/slideLayout" Target="../slideLayouts/slideLayout76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Relationship Id="rId30" Type="http://schemas.openxmlformats.org/officeDocument/2006/relationships/slideLayout" Target="../slideLayouts/slideLayout41.xml"/><Relationship Id="rId35" Type="http://schemas.openxmlformats.org/officeDocument/2006/relationships/slideLayout" Target="../slideLayouts/slideLayout46.xml"/><Relationship Id="rId43" Type="http://schemas.openxmlformats.org/officeDocument/2006/relationships/slideLayout" Target="../slideLayouts/slideLayout54.xml"/><Relationship Id="rId48" Type="http://schemas.openxmlformats.org/officeDocument/2006/relationships/slideLayout" Target="../slideLayouts/slideLayout59.xml"/><Relationship Id="rId56" Type="http://schemas.openxmlformats.org/officeDocument/2006/relationships/slideLayout" Target="../slideLayouts/slideLayout67.xml"/><Relationship Id="rId64" Type="http://schemas.openxmlformats.org/officeDocument/2006/relationships/slideLayout" Target="../slideLayouts/slideLayout75.xml"/><Relationship Id="rId8" Type="http://schemas.openxmlformats.org/officeDocument/2006/relationships/slideLayout" Target="../slideLayouts/slideLayout19.xml"/><Relationship Id="rId51" Type="http://schemas.openxmlformats.org/officeDocument/2006/relationships/slideLayout" Target="../slideLayouts/slideLayout62.xml"/><Relationship Id="rId3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33" Type="http://schemas.openxmlformats.org/officeDocument/2006/relationships/slideLayout" Target="../slideLayouts/slideLayout44.xml"/><Relationship Id="rId38" Type="http://schemas.openxmlformats.org/officeDocument/2006/relationships/slideLayout" Target="../slideLayouts/slideLayout49.xml"/><Relationship Id="rId46" Type="http://schemas.openxmlformats.org/officeDocument/2006/relationships/slideLayout" Target="../slideLayouts/slideLayout57.xml"/><Relationship Id="rId59" Type="http://schemas.openxmlformats.org/officeDocument/2006/relationships/slideLayout" Target="../slideLayouts/slideLayout70.xml"/><Relationship Id="rId67" Type="http://schemas.openxmlformats.org/officeDocument/2006/relationships/slideLayout" Target="../slideLayouts/slideLayout78.xml"/><Relationship Id="rId20" Type="http://schemas.openxmlformats.org/officeDocument/2006/relationships/slideLayout" Target="../slideLayouts/slideLayout31.xml"/><Relationship Id="rId41" Type="http://schemas.openxmlformats.org/officeDocument/2006/relationships/slideLayout" Target="../slideLayouts/slideLayout52.xml"/><Relationship Id="rId54" Type="http://schemas.openxmlformats.org/officeDocument/2006/relationships/slideLayout" Target="../slideLayouts/slideLayout65.xml"/><Relationship Id="rId62" Type="http://schemas.openxmlformats.org/officeDocument/2006/relationships/slideLayout" Target="../slideLayouts/slideLayout7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6.xml"/><Relationship Id="rId3" Type="http://schemas.openxmlformats.org/officeDocument/2006/relationships/slideLayout" Target="../slideLayouts/slideLayout81.xml"/><Relationship Id="rId7" Type="http://schemas.openxmlformats.org/officeDocument/2006/relationships/slideLayout" Target="../slideLayouts/slideLayout85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80.xml"/><Relationship Id="rId1" Type="http://schemas.openxmlformats.org/officeDocument/2006/relationships/slideLayout" Target="../slideLayouts/slideLayout79.xml"/><Relationship Id="rId6" Type="http://schemas.openxmlformats.org/officeDocument/2006/relationships/slideLayout" Target="../slideLayouts/slideLayout84.xml"/><Relationship Id="rId11" Type="http://schemas.openxmlformats.org/officeDocument/2006/relationships/slideLayout" Target="../slideLayouts/slideLayout89.xml"/><Relationship Id="rId5" Type="http://schemas.openxmlformats.org/officeDocument/2006/relationships/slideLayout" Target="../slideLayouts/slideLayout83.xml"/><Relationship Id="rId10" Type="http://schemas.openxmlformats.org/officeDocument/2006/relationships/slideLayout" Target="../slideLayouts/slideLayout88.xml"/><Relationship Id="rId4" Type="http://schemas.openxmlformats.org/officeDocument/2006/relationships/slideLayout" Target="../slideLayouts/slideLayout82.xml"/><Relationship Id="rId9" Type="http://schemas.openxmlformats.org/officeDocument/2006/relationships/slideLayout" Target="../slideLayouts/slideLayout8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E22E204D-AD11-4E08-89F0-7D0ADCF025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F55357EF-0BFB-48A5-8DB7-82338EDEABC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3D378859-08AE-46E0-A402-FE858C08529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23A656C-BD5A-450D-8E27-5AFFED385077}" type="datetimeFigureOut">
              <a:rPr lang="pt-BR" smtClean="0"/>
              <a:t>28/05/2020</a:t>
            </a:fld>
            <a:endParaRPr lang="pt-BR" dirty="0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B132CCF4-A40F-438C-9093-5553401F125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 dirty="0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D290540B-4C98-44DF-9219-A2BCEE012EA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EE774B9-B12C-4857-9133-C2FE22381242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2870715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7" r:id="rId4"/>
    <p:sldLayoutId id="2147483708" r:id="rId5"/>
    <p:sldLayoutId id="2147483709" r:id="rId6"/>
    <p:sldLayoutId id="2147483710" r:id="rId7"/>
    <p:sldLayoutId id="2147483711" r:id="rId8"/>
    <p:sldLayoutId id="2147483712" r:id="rId9"/>
    <p:sldLayoutId id="2147483713" r:id="rId10"/>
    <p:sldLayoutId id="2147483714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20" name="Straight Connector 19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Isosceles Triangle 23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Isosceles Triangle 27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Isosceles Triangle 28"/>
            <p:cNvSpPr/>
            <p:nvPr/>
          </p:nvSpPr>
          <p:spPr>
            <a:xfrm>
              <a:off x="0" y="4013200"/>
              <a:ext cx="448733" cy="2844800"/>
            </a:xfrm>
            <a:prstGeom prst="triangle">
              <a:avLst>
                <a:gd name="adj" fmla="val 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4" y="2160589"/>
            <a:ext cx="8596668" cy="38807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205133" y="6041362"/>
            <a:ext cx="9119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1BEF0D-F0BB-DE4B-95CE-6DB70DBA9567}" type="datetimeFigureOut">
              <a:rPr lang="en-US" dirty="0"/>
              <a:pPr/>
              <a:t>5/28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77334" y="6041362"/>
            <a:ext cx="62976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90663" y="6041362"/>
            <a:ext cx="6833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fld id="{D57F1E4F-1CFF-5643-939E-217C01CDF565}" type="slidenum">
              <a:rPr lang="en-US" dirty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96075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19" r:id="rId4"/>
    <p:sldLayoutId id="2147483720" r:id="rId5"/>
    <p:sldLayoutId id="2147483721" r:id="rId6"/>
    <p:sldLayoutId id="2147483722" r:id="rId7"/>
    <p:sldLayoutId id="2147483723" r:id="rId8"/>
    <p:sldLayoutId id="2147483724" r:id="rId9"/>
    <p:sldLayoutId id="2147483725" r:id="rId10"/>
    <p:sldLayoutId id="2147483726" r:id="rId11"/>
    <p:sldLayoutId id="2147483727" r:id="rId12"/>
    <p:sldLayoutId id="2147483728" r:id="rId13"/>
    <p:sldLayoutId id="2147483729" r:id="rId14"/>
    <p:sldLayoutId id="2147483730" r:id="rId15"/>
    <p:sldLayoutId id="2147483731" r:id="rId16"/>
    <p:sldLayoutId id="2147483733" r:id="rId17"/>
    <p:sldLayoutId id="2147483651" r:id="rId18"/>
    <p:sldLayoutId id="2147483688" r:id="rId19"/>
    <p:sldLayoutId id="2147483679" r:id="rId20"/>
    <p:sldLayoutId id="2147483686" r:id="rId21"/>
    <p:sldLayoutId id="2147483687" r:id="rId22"/>
    <p:sldLayoutId id="2147483681" r:id="rId23"/>
    <p:sldLayoutId id="2147483685" r:id="rId24"/>
    <p:sldLayoutId id="2147483698" r:id="rId25"/>
    <p:sldLayoutId id="2147483683" r:id="rId26"/>
    <p:sldLayoutId id="2147483695" r:id="rId27"/>
    <p:sldLayoutId id="2147483680" r:id="rId28"/>
    <p:sldLayoutId id="2147483675" r:id="rId29"/>
    <p:sldLayoutId id="2147483674" r:id="rId30"/>
    <p:sldLayoutId id="2147483696" r:id="rId31"/>
    <p:sldLayoutId id="2147483668" r:id="rId32"/>
    <p:sldLayoutId id="2147483689" r:id="rId33"/>
    <p:sldLayoutId id="2147483690" r:id="rId34"/>
    <p:sldLayoutId id="2147483691" r:id="rId35"/>
    <p:sldLayoutId id="2147483699" r:id="rId36"/>
    <p:sldLayoutId id="2147483700" r:id="rId37"/>
    <p:sldLayoutId id="2147483701" r:id="rId38"/>
    <p:sldLayoutId id="2147483692" r:id="rId39"/>
    <p:sldLayoutId id="2147483693" r:id="rId40"/>
    <p:sldLayoutId id="2147483669" r:id="rId41"/>
    <p:sldLayoutId id="2147483694" r:id="rId42"/>
    <p:sldLayoutId id="2147483671" r:id="rId43"/>
    <p:sldLayoutId id="2147483682" r:id="rId44"/>
    <p:sldLayoutId id="2147483670" r:id="rId45"/>
    <p:sldLayoutId id="2147483650" r:id="rId46"/>
    <p:sldLayoutId id="2147483684" r:id="rId47"/>
    <p:sldLayoutId id="2147483653" r:id="rId48"/>
    <p:sldLayoutId id="2147483678" r:id="rId49"/>
    <p:sldLayoutId id="2147483661" r:id="rId50"/>
    <p:sldLayoutId id="2147483665" r:id="rId51"/>
    <p:sldLayoutId id="2147483654" r:id="rId52"/>
    <p:sldLayoutId id="2147483656" r:id="rId53"/>
    <p:sldLayoutId id="2147483658" r:id="rId54"/>
    <p:sldLayoutId id="2147483657" r:id="rId55"/>
    <p:sldLayoutId id="2147483659" r:id="rId56"/>
    <p:sldLayoutId id="2147483660" r:id="rId57"/>
    <p:sldLayoutId id="2147483667" r:id="rId58"/>
    <p:sldLayoutId id="2147483662" r:id="rId59"/>
    <p:sldLayoutId id="2147483666" r:id="rId60"/>
    <p:sldLayoutId id="2147483663" r:id="rId61"/>
    <p:sldLayoutId id="2147483664" r:id="rId62"/>
    <p:sldLayoutId id="2147483655" r:id="rId63"/>
    <p:sldLayoutId id="2147483673" r:id="rId64"/>
    <p:sldLayoutId id="2147483676" r:id="rId65"/>
    <p:sldLayoutId id="2147483677" r:id="rId66"/>
    <p:sldLayoutId id="2147483652" r:id="rId67"/>
  </p:sldLayoutIdLst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DE28A1D1-674B-4772-AE3E-D8219A29E3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6F211042-AEFD-4B88-9A9D-9366C181308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DFD45507-2F1F-4FAF-90A8-F3FA7BBA22B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D9119D7-2FBC-4F83-A026-8130C33FCB18}" type="datetimeFigureOut">
              <a:rPr lang="pt-BR" smtClean="0"/>
              <a:t>28/05/2020</a:t>
            </a:fld>
            <a:endParaRPr lang="pt-BR" dirty="0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4EB76E8B-14A5-419A-BC4A-2A83D3BA5DE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 dirty="0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31F290C7-5B6A-42A4-9B2F-99B0E9CABFD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E52A2C-AB07-465E-8D9E-A068A3346A45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4639245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736" r:id="rId2"/>
    <p:sldLayoutId id="2147483737" r:id="rId3"/>
    <p:sldLayoutId id="2147483738" r:id="rId4"/>
    <p:sldLayoutId id="2147483739" r:id="rId5"/>
    <p:sldLayoutId id="2147483740" r:id="rId6"/>
    <p:sldLayoutId id="2147483741" r:id="rId7"/>
    <p:sldLayoutId id="2147483742" r:id="rId8"/>
    <p:sldLayoutId id="2147483743" r:id="rId9"/>
    <p:sldLayoutId id="2147483744" r:id="rId10"/>
    <p:sldLayoutId id="2147483745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2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13" Type="http://schemas.openxmlformats.org/officeDocument/2006/relationships/image" Target="../media/image21.png"/><Relationship Id="rId18" Type="http://schemas.openxmlformats.org/officeDocument/2006/relationships/image" Target="../media/image24.png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12" Type="http://schemas.microsoft.com/office/2007/relationships/hdphoto" Target="../media/hdphoto4.wdp"/><Relationship Id="rId17" Type="http://schemas.openxmlformats.org/officeDocument/2006/relationships/image" Target="../media/image23.png"/><Relationship Id="rId2" Type="http://schemas.openxmlformats.org/officeDocument/2006/relationships/image" Target="../media/image16.png"/><Relationship Id="rId16" Type="http://schemas.microsoft.com/office/2007/relationships/hdphoto" Target="../media/hdphoto6.wdp"/><Relationship Id="rId1" Type="http://schemas.openxmlformats.org/officeDocument/2006/relationships/slideLayout" Target="../slideLayouts/slideLayout18.xml"/><Relationship Id="rId6" Type="http://schemas.microsoft.com/office/2007/relationships/hdphoto" Target="../media/hdphoto1.wdp"/><Relationship Id="rId11" Type="http://schemas.openxmlformats.org/officeDocument/2006/relationships/image" Target="../media/image20.png"/><Relationship Id="rId5" Type="http://schemas.openxmlformats.org/officeDocument/2006/relationships/image" Target="../media/image17.png"/><Relationship Id="rId15" Type="http://schemas.openxmlformats.org/officeDocument/2006/relationships/image" Target="../media/image22.png"/><Relationship Id="rId10" Type="http://schemas.microsoft.com/office/2007/relationships/hdphoto" Target="../media/hdphoto3.wdp"/><Relationship Id="rId19" Type="http://schemas.microsoft.com/office/2007/relationships/hdphoto" Target="../media/hdphoto7.wdp"/><Relationship Id="rId4" Type="http://schemas.openxmlformats.org/officeDocument/2006/relationships/image" Target="../media/image15.png"/><Relationship Id="rId9" Type="http://schemas.openxmlformats.org/officeDocument/2006/relationships/image" Target="../media/image19.png"/><Relationship Id="rId14" Type="http://schemas.microsoft.com/office/2007/relationships/hdphoto" Target="../media/hdphoto5.wdp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25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2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8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image" Target="../media/image14.png"/><Relationship Id="rId7" Type="http://schemas.openxmlformats.org/officeDocument/2006/relationships/image" Target="../media/image29.pn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1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15.png"/><Relationship Id="rId9" Type="http://schemas.openxmlformats.org/officeDocument/2006/relationships/image" Target="../media/image3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3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Agrupar 6">
            <a:extLst>
              <a:ext uri="{FF2B5EF4-FFF2-40B4-BE49-F238E27FC236}">
                <a16:creationId xmlns:a16="http://schemas.microsoft.com/office/drawing/2014/main" id="{485F5F07-39CF-40C6-84FF-AEB148ACE57F}"/>
              </a:ext>
            </a:extLst>
          </p:cNvPr>
          <p:cNvGrpSpPr/>
          <p:nvPr/>
        </p:nvGrpSpPr>
        <p:grpSpPr>
          <a:xfrm>
            <a:off x="0" y="1050325"/>
            <a:ext cx="2248930" cy="5820032"/>
            <a:chOff x="0" y="17373"/>
            <a:chExt cx="2607277" cy="6840627"/>
          </a:xfrm>
        </p:grpSpPr>
        <p:pic>
          <p:nvPicPr>
            <p:cNvPr id="2" name="Imagem 1">
              <a:extLst>
                <a:ext uri="{FF2B5EF4-FFF2-40B4-BE49-F238E27FC236}">
                  <a16:creationId xmlns:a16="http://schemas.microsoft.com/office/drawing/2014/main" id="{F6203FE7-8035-473E-B3CF-3770902B998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0" y="17373"/>
              <a:ext cx="2607276" cy="1638431"/>
            </a:xfrm>
            <a:prstGeom prst="rect">
              <a:avLst/>
            </a:prstGeom>
          </p:spPr>
        </p:pic>
        <p:pic>
          <p:nvPicPr>
            <p:cNvPr id="3" name="Imagem 2">
              <a:extLst>
                <a:ext uri="{FF2B5EF4-FFF2-40B4-BE49-F238E27FC236}">
                  <a16:creationId xmlns:a16="http://schemas.microsoft.com/office/drawing/2014/main" id="{D6B4F4F9-E762-4AF7-B18A-F1E0241DB59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0" y="1655804"/>
              <a:ext cx="2607276" cy="1638431"/>
            </a:xfrm>
            <a:prstGeom prst="rect">
              <a:avLst/>
            </a:prstGeom>
          </p:spPr>
        </p:pic>
        <p:pic>
          <p:nvPicPr>
            <p:cNvPr id="4" name="Imagem 3">
              <a:extLst>
                <a:ext uri="{FF2B5EF4-FFF2-40B4-BE49-F238E27FC236}">
                  <a16:creationId xmlns:a16="http://schemas.microsoft.com/office/drawing/2014/main" id="{F1EA81EF-25FB-43AB-964B-851928AEDD2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0" y="3294235"/>
              <a:ext cx="2607276" cy="1638431"/>
            </a:xfrm>
            <a:prstGeom prst="rect">
              <a:avLst/>
            </a:prstGeom>
          </p:spPr>
        </p:pic>
        <p:pic>
          <p:nvPicPr>
            <p:cNvPr id="6" name="Imagem 5">
              <a:extLst>
                <a:ext uri="{FF2B5EF4-FFF2-40B4-BE49-F238E27FC236}">
                  <a16:creationId xmlns:a16="http://schemas.microsoft.com/office/drawing/2014/main" id="{4FB00907-884B-485D-9492-04972EB9914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" y="4932666"/>
              <a:ext cx="2607276" cy="1925334"/>
            </a:xfrm>
            <a:prstGeom prst="rect">
              <a:avLst/>
            </a:prstGeom>
          </p:spPr>
        </p:pic>
      </p:grpSp>
      <p:pic>
        <p:nvPicPr>
          <p:cNvPr id="8" name="Imagem 7">
            <a:extLst>
              <a:ext uri="{FF2B5EF4-FFF2-40B4-BE49-F238E27FC236}">
                <a16:creationId xmlns:a16="http://schemas.microsoft.com/office/drawing/2014/main" id="{887856B8-3A4C-414A-88A1-274CAA103F7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8373" y="83901"/>
            <a:ext cx="847725" cy="790575"/>
          </a:xfrm>
          <a:prstGeom prst="rect">
            <a:avLst/>
          </a:prstGeom>
        </p:spPr>
      </p:pic>
      <p:pic>
        <p:nvPicPr>
          <p:cNvPr id="9" name="Imagem 8">
            <a:extLst>
              <a:ext uri="{FF2B5EF4-FFF2-40B4-BE49-F238E27FC236}">
                <a16:creationId xmlns:a16="http://schemas.microsoft.com/office/drawing/2014/main" id="{B995AEA3-E2AC-42A1-849E-D0EDF0E9972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51466" y="163473"/>
            <a:ext cx="1329131" cy="698646"/>
          </a:xfrm>
          <a:prstGeom prst="rect">
            <a:avLst/>
          </a:prstGeom>
        </p:spPr>
      </p:pic>
      <p:sp>
        <p:nvSpPr>
          <p:cNvPr id="10" name="TextBox 7">
            <a:extLst>
              <a:ext uri="{FF2B5EF4-FFF2-40B4-BE49-F238E27FC236}">
                <a16:creationId xmlns:a16="http://schemas.microsoft.com/office/drawing/2014/main" id="{CD5E924C-E091-434D-93D6-DA903C40F51F}"/>
              </a:ext>
            </a:extLst>
          </p:cNvPr>
          <p:cNvSpPr txBox="1"/>
          <p:nvPr/>
        </p:nvSpPr>
        <p:spPr>
          <a:xfrm>
            <a:off x="1190366" y="2904868"/>
            <a:ext cx="9662983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3600" dirty="0"/>
              <a:t>CASE NEWAGE INDÚSTRIA </a:t>
            </a:r>
          </a:p>
          <a:p>
            <a:pPr algn="ctr"/>
            <a:r>
              <a:rPr lang="en-US" sz="3600" dirty="0"/>
              <a:t>DE BEBIDAS</a:t>
            </a:r>
          </a:p>
        </p:txBody>
      </p:sp>
      <p:sp>
        <p:nvSpPr>
          <p:cNvPr id="11" name="TextBox 7">
            <a:extLst>
              <a:ext uri="{FF2B5EF4-FFF2-40B4-BE49-F238E27FC236}">
                <a16:creationId xmlns:a16="http://schemas.microsoft.com/office/drawing/2014/main" id="{213705D6-9DD2-489A-9387-81E5FB4B12B7}"/>
              </a:ext>
            </a:extLst>
          </p:cNvPr>
          <p:cNvSpPr txBox="1"/>
          <p:nvPr/>
        </p:nvSpPr>
        <p:spPr>
          <a:xfrm>
            <a:off x="2965621" y="879844"/>
            <a:ext cx="6260758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pt-BR" sz="2000" dirty="0"/>
              <a:t>GIA5009 – Gestão de Marketing no Agronegócio</a:t>
            </a:r>
            <a:endParaRPr lang="en-US" sz="2000" dirty="0"/>
          </a:p>
        </p:txBody>
      </p:sp>
      <p:sp>
        <p:nvSpPr>
          <p:cNvPr id="12" name="TextBox 7">
            <a:extLst>
              <a:ext uri="{FF2B5EF4-FFF2-40B4-BE49-F238E27FC236}">
                <a16:creationId xmlns:a16="http://schemas.microsoft.com/office/drawing/2014/main" id="{CBCD69F8-DEDD-4850-B605-AE4A3574B98F}"/>
              </a:ext>
            </a:extLst>
          </p:cNvPr>
          <p:cNvSpPr txBox="1"/>
          <p:nvPr/>
        </p:nvSpPr>
        <p:spPr>
          <a:xfrm>
            <a:off x="2965621" y="5436397"/>
            <a:ext cx="6260758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pt-BR" sz="2000" dirty="0"/>
              <a:t>Paulo Afonso Gueldini de Moraes</a:t>
            </a:r>
          </a:p>
          <a:p>
            <a:pPr algn="ctr"/>
            <a:r>
              <a:rPr lang="pt-BR" sz="2000" dirty="0"/>
              <a:t>paulo_moraes@usp.br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7281478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Imagem 23">
            <a:extLst>
              <a:ext uri="{FF2B5EF4-FFF2-40B4-BE49-F238E27FC236}">
                <a16:creationId xmlns:a16="http://schemas.microsoft.com/office/drawing/2014/main" id="{B99CD8E0-2213-4B6D-9FB4-426D785C286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3634"/>
          <a:stretch/>
        </p:blipFill>
        <p:spPr>
          <a:xfrm>
            <a:off x="288044" y="1178525"/>
            <a:ext cx="3947307" cy="3666696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" name="Imagem 1">
            <a:extLst>
              <a:ext uri="{FF2B5EF4-FFF2-40B4-BE49-F238E27FC236}">
                <a16:creationId xmlns:a16="http://schemas.microsoft.com/office/drawing/2014/main" id="{D2B4D45C-B348-466B-BAEA-8C9DCDBCC03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4300" y="71544"/>
            <a:ext cx="847725" cy="790575"/>
          </a:xfrm>
          <a:prstGeom prst="rect">
            <a:avLst/>
          </a:prstGeom>
        </p:spPr>
      </p:pic>
      <p:pic>
        <p:nvPicPr>
          <p:cNvPr id="3" name="Imagem 2">
            <a:extLst>
              <a:ext uri="{FF2B5EF4-FFF2-40B4-BE49-F238E27FC236}">
                <a16:creationId xmlns:a16="http://schemas.microsoft.com/office/drawing/2014/main" id="{47AF3CAC-AC29-430E-A377-63F339C4185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787119" y="71544"/>
            <a:ext cx="1329131" cy="698646"/>
          </a:xfrm>
          <a:prstGeom prst="rect">
            <a:avLst/>
          </a:prstGeom>
        </p:spPr>
      </p:pic>
      <p:sp>
        <p:nvSpPr>
          <p:cNvPr id="4" name="TextBox 7">
            <a:extLst>
              <a:ext uri="{FF2B5EF4-FFF2-40B4-BE49-F238E27FC236}">
                <a16:creationId xmlns:a16="http://schemas.microsoft.com/office/drawing/2014/main" id="{6FBAC60B-4BB8-46EE-8893-DDC1EE783B68}"/>
              </a:ext>
            </a:extLst>
          </p:cNvPr>
          <p:cNvSpPr txBox="1"/>
          <p:nvPr/>
        </p:nvSpPr>
        <p:spPr>
          <a:xfrm>
            <a:off x="991501" y="0"/>
            <a:ext cx="9662983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3600" dirty="0"/>
              <a:t>DESENVOLVIMENTO PROFISSIONAL</a:t>
            </a:r>
          </a:p>
        </p:txBody>
      </p:sp>
      <p:pic>
        <p:nvPicPr>
          <p:cNvPr id="5" name="Imagem 4">
            <a:extLst>
              <a:ext uri="{FF2B5EF4-FFF2-40B4-BE49-F238E27FC236}">
                <a16:creationId xmlns:a16="http://schemas.microsoft.com/office/drawing/2014/main" id="{3945473B-B8D8-42D6-B5CC-888A27895AF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20000"/>
                    </a14:imgEffect>
                    <a14:imgEffect>
                      <a14:saturation sat="1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2282" y="3295182"/>
            <a:ext cx="2467547" cy="171992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7" name="Imagem 6">
            <a:extLst>
              <a:ext uri="{FF2B5EF4-FFF2-40B4-BE49-F238E27FC236}">
                <a16:creationId xmlns:a16="http://schemas.microsoft.com/office/drawing/2014/main" id="{0035F170-DEE6-4157-8B2E-7323CEAB34E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154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69011" y="4739057"/>
            <a:ext cx="2045917" cy="1276093"/>
          </a:xfrm>
          <a:prstGeom prst="rect">
            <a:avLst/>
          </a:prstGeom>
          <a:ln>
            <a:solidFill>
              <a:schemeClr val="tx1"/>
            </a:solidFill>
          </a:ln>
          <a:effectLst>
            <a:glow rad="127000">
              <a:schemeClr val="accent1">
                <a:alpha val="0"/>
              </a:schemeClr>
            </a:glow>
          </a:effectLst>
        </p:spPr>
      </p:pic>
      <p:pic>
        <p:nvPicPr>
          <p:cNvPr id="8" name="Imagem 7">
            <a:extLst>
              <a:ext uri="{FF2B5EF4-FFF2-40B4-BE49-F238E27FC236}">
                <a16:creationId xmlns:a16="http://schemas.microsoft.com/office/drawing/2014/main" id="{439287B4-1EA1-452E-AC00-E8016B12A93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aturation sat="1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9856" y="4376802"/>
            <a:ext cx="973934" cy="1519419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9" name="Imagem 8">
            <a:extLst>
              <a:ext uri="{FF2B5EF4-FFF2-40B4-BE49-F238E27FC236}">
                <a16:creationId xmlns:a16="http://schemas.microsoft.com/office/drawing/2014/main" id="{AAE2CAD6-84F1-48A1-857D-4FC470DB6CCA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saturation sat="1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15736" y="4739057"/>
            <a:ext cx="973934" cy="1514644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0" name="Imagem 9">
            <a:extLst>
              <a:ext uri="{FF2B5EF4-FFF2-40B4-BE49-F238E27FC236}">
                <a16:creationId xmlns:a16="http://schemas.microsoft.com/office/drawing/2014/main" id="{F441CF4D-9C41-4C34-82B9-E6C91E723528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saturation sat="1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1088" y="5136512"/>
            <a:ext cx="973935" cy="1557075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1" name="Imagem 10">
            <a:extLst>
              <a:ext uri="{FF2B5EF4-FFF2-40B4-BE49-F238E27FC236}">
                <a16:creationId xmlns:a16="http://schemas.microsoft.com/office/drawing/2014/main" id="{FA30C809-D3AA-45AC-BB40-0CE6EF95F433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saturation sat="16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6408" y="1008177"/>
            <a:ext cx="1603293" cy="2456744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5" name="Imagem 24">
            <a:extLst>
              <a:ext uri="{FF2B5EF4-FFF2-40B4-BE49-F238E27FC236}">
                <a16:creationId xmlns:a16="http://schemas.microsoft.com/office/drawing/2014/main" id="{1C9F8677-454D-4220-802C-C258E038A0F2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1675546" y="5324883"/>
            <a:ext cx="1172301" cy="1180331"/>
          </a:xfrm>
          <a:prstGeom prst="rect">
            <a:avLst/>
          </a:prstGeom>
        </p:spPr>
      </p:pic>
      <p:pic>
        <p:nvPicPr>
          <p:cNvPr id="6" name="Imagem 5">
            <a:extLst>
              <a:ext uri="{FF2B5EF4-FFF2-40B4-BE49-F238E27FC236}">
                <a16:creationId xmlns:a16="http://schemas.microsoft.com/office/drawing/2014/main" id="{0AC63D99-3B96-4F79-8830-BCB2584B8F9E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BEBA8EAE-BF5A-486C-A8C5-ECC9F3942E4B}">
                <a14:imgProps xmlns:a14="http://schemas.microsoft.com/office/drawing/2010/main">
                  <a14:imgLayer r:embed="rId19">
                    <a14:imgEffect>
                      <a14:saturation sat="1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88039" y="3281053"/>
            <a:ext cx="2063645" cy="1276093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195847926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>
            <a:extLst>
              <a:ext uri="{FF2B5EF4-FFF2-40B4-BE49-F238E27FC236}">
                <a16:creationId xmlns:a16="http://schemas.microsoft.com/office/drawing/2014/main" id="{F881A87E-3528-42DD-93F3-FFE888BFD23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4300" y="71544"/>
            <a:ext cx="847725" cy="790575"/>
          </a:xfrm>
          <a:prstGeom prst="rect">
            <a:avLst/>
          </a:prstGeom>
        </p:spPr>
      </p:pic>
      <p:pic>
        <p:nvPicPr>
          <p:cNvPr id="19" name="Imagem 18">
            <a:extLst>
              <a:ext uri="{FF2B5EF4-FFF2-40B4-BE49-F238E27FC236}">
                <a16:creationId xmlns:a16="http://schemas.microsoft.com/office/drawing/2014/main" id="{B6CC6BB5-DBC3-44C6-BF8A-43FF8E2878B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787119" y="71544"/>
            <a:ext cx="1329131" cy="698646"/>
          </a:xfrm>
          <a:prstGeom prst="rect">
            <a:avLst/>
          </a:prstGeom>
        </p:spPr>
      </p:pic>
      <p:sp>
        <p:nvSpPr>
          <p:cNvPr id="12" name="TextBox 7">
            <a:extLst>
              <a:ext uri="{FF2B5EF4-FFF2-40B4-BE49-F238E27FC236}">
                <a16:creationId xmlns:a16="http://schemas.microsoft.com/office/drawing/2014/main" id="{0DF67A25-0E37-4D29-8527-D5C761BEE449}"/>
              </a:ext>
            </a:extLst>
          </p:cNvPr>
          <p:cNvSpPr txBox="1"/>
          <p:nvPr/>
        </p:nvSpPr>
        <p:spPr>
          <a:xfrm>
            <a:off x="991501" y="0"/>
            <a:ext cx="9662983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3600" dirty="0"/>
              <a:t>APRESENTAÇÃO INSTITUCIONAL</a:t>
            </a:r>
          </a:p>
        </p:txBody>
      </p:sp>
      <p:pic>
        <p:nvPicPr>
          <p:cNvPr id="3" name="Newage Bebidas Português Mobile">
            <a:hlinkClick r:id="" action="ppaction://media"/>
            <a:extLst>
              <a:ext uri="{FF2B5EF4-FFF2-40B4-BE49-F238E27FC236}">
                <a16:creationId xmlns:a16="http://schemas.microsoft.com/office/drawing/2014/main" id="{D138D9D0-B106-424D-AF94-BDEF4EB07AC1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892645" y="882599"/>
            <a:ext cx="10352004" cy="5818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13449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10218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7">
            <a:extLst>
              <a:ext uri="{FF2B5EF4-FFF2-40B4-BE49-F238E27FC236}">
                <a16:creationId xmlns:a16="http://schemas.microsoft.com/office/drawing/2014/main" id="{D17EB173-FD34-449A-A18B-7CF053628BCB}"/>
              </a:ext>
            </a:extLst>
          </p:cNvPr>
          <p:cNvSpPr txBox="1"/>
          <p:nvPr/>
        </p:nvSpPr>
        <p:spPr>
          <a:xfrm>
            <a:off x="991501" y="0"/>
            <a:ext cx="9662983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3600" dirty="0"/>
              <a:t>INFORMAÇÕES ADICIONAIS</a:t>
            </a: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6B61870A-8F7C-4A33-B1A8-304C4F5509C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4300" y="71544"/>
            <a:ext cx="847725" cy="790575"/>
          </a:xfrm>
          <a:prstGeom prst="rect">
            <a:avLst/>
          </a:prstGeom>
        </p:spPr>
      </p:pic>
      <p:pic>
        <p:nvPicPr>
          <p:cNvPr id="4" name="Imagem 3">
            <a:extLst>
              <a:ext uri="{FF2B5EF4-FFF2-40B4-BE49-F238E27FC236}">
                <a16:creationId xmlns:a16="http://schemas.microsoft.com/office/drawing/2014/main" id="{4CEF9389-226F-4A9B-9DBD-8AB66604D9F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87119" y="71544"/>
            <a:ext cx="1329131" cy="698646"/>
          </a:xfrm>
          <a:prstGeom prst="rect">
            <a:avLst/>
          </a:prstGeom>
        </p:spPr>
      </p:pic>
      <p:sp>
        <p:nvSpPr>
          <p:cNvPr id="6" name="CaixaDeTexto 5">
            <a:extLst>
              <a:ext uri="{FF2B5EF4-FFF2-40B4-BE49-F238E27FC236}">
                <a16:creationId xmlns:a16="http://schemas.microsoft.com/office/drawing/2014/main" id="{738E5945-F307-4A65-A97A-C2F9202217E0}"/>
              </a:ext>
            </a:extLst>
          </p:cNvPr>
          <p:cNvSpPr txBox="1"/>
          <p:nvPr/>
        </p:nvSpPr>
        <p:spPr>
          <a:xfrm>
            <a:off x="180249" y="2944529"/>
            <a:ext cx="5072222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pt-BR" sz="2000" b="1" dirty="0"/>
              <a:t>FOCO DE ATUAÇÃO NO MERCADO B2B: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pt-BR" dirty="0"/>
              <a:t>DISTRIBUIÇÃO INDIRETA: 80%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pt-BR" dirty="0"/>
              <a:t>DISTRIBUIÇÃO DIRETA: 20%</a:t>
            </a:r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6AD575E6-EDAD-4723-B591-F6B2AD51D765}"/>
              </a:ext>
            </a:extLst>
          </p:cNvPr>
          <p:cNvSpPr txBox="1"/>
          <p:nvPr/>
        </p:nvSpPr>
        <p:spPr>
          <a:xfrm>
            <a:off x="207009" y="4113507"/>
            <a:ext cx="527349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pt-BR" sz="2000" b="1" dirty="0"/>
              <a:t>MERCADO B2C:</a:t>
            </a: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pt-BR" sz="2000" dirty="0"/>
              <a:t>LOJA DA FÁBRICA:</a:t>
            </a:r>
          </a:p>
          <a:p>
            <a:pPr marL="1257300" lvl="2" indent="-342900">
              <a:buFont typeface="Arial" panose="020B0604020202020204" pitchFamily="34" charset="0"/>
              <a:buChar char="•"/>
            </a:pPr>
            <a:r>
              <a:rPr lang="pt-BR" dirty="0"/>
              <a:t>Venda de Packs </a:t>
            </a:r>
          </a:p>
          <a:p>
            <a:pPr marL="1257300" lvl="2" indent="-342900">
              <a:buFont typeface="Arial" panose="020B0604020202020204" pitchFamily="34" charset="0"/>
              <a:buChar char="•"/>
            </a:pPr>
            <a:r>
              <a:rPr lang="pt-BR" dirty="0"/>
              <a:t>Produtos próximos ao venciment</a:t>
            </a:r>
            <a:r>
              <a:rPr lang="pt-BR" sz="2000" dirty="0"/>
              <a:t>o</a:t>
            </a:r>
          </a:p>
        </p:txBody>
      </p:sp>
      <p:sp>
        <p:nvSpPr>
          <p:cNvPr id="8" name="Retângulo 7">
            <a:extLst>
              <a:ext uri="{FF2B5EF4-FFF2-40B4-BE49-F238E27FC236}">
                <a16:creationId xmlns:a16="http://schemas.microsoft.com/office/drawing/2014/main" id="{D3A8AEF4-1367-4EE5-9B6B-D2956399B4C1}"/>
              </a:ext>
            </a:extLst>
          </p:cNvPr>
          <p:cNvSpPr/>
          <p:nvPr/>
        </p:nvSpPr>
        <p:spPr>
          <a:xfrm>
            <a:off x="207009" y="933663"/>
            <a:ext cx="11729618" cy="19082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pt-BR" sz="2000" dirty="0"/>
              <a:t>FATURAMENTO BRUTO ANUAL APROXIMADO (ANO BASE 2019): </a:t>
            </a:r>
            <a:r>
              <a:rPr lang="pt-BR" sz="2400" b="1" dirty="0"/>
              <a:t>R$220M </a:t>
            </a:r>
            <a:r>
              <a:rPr lang="pt-BR" dirty="0"/>
              <a:t>(70/30)</a:t>
            </a:r>
          </a:p>
          <a:p>
            <a:endParaRPr lang="pt-BR" sz="2000" dirty="0"/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pt-BR" sz="2000" dirty="0"/>
              <a:t>ESTRUTURA EMPRESA FAMILIAR: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pt-BR" dirty="0"/>
              <a:t>2 DIRETORES </a:t>
            </a:r>
          </a:p>
          <a:p>
            <a:pPr marL="1257300" lvl="2" indent="-342900">
              <a:buFont typeface="Arial" panose="020B0604020202020204" pitchFamily="34" charset="0"/>
              <a:buChar char="•"/>
            </a:pPr>
            <a:r>
              <a:rPr lang="pt-BR" dirty="0"/>
              <a:t>CMO</a:t>
            </a:r>
          </a:p>
          <a:p>
            <a:pPr marL="1257300" lvl="2" indent="-342900">
              <a:buFont typeface="Arial" panose="020B0604020202020204" pitchFamily="34" charset="0"/>
              <a:buChar char="•"/>
            </a:pPr>
            <a:r>
              <a:rPr lang="pt-BR" dirty="0"/>
              <a:t>COO</a:t>
            </a:r>
          </a:p>
        </p:txBody>
      </p:sp>
      <p:pic>
        <p:nvPicPr>
          <p:cNvPr id="9" name="Imagem 8">
            <a:extLst>
              <a:ext uri="{FF2B5EF4-FFF2-40B4-BE49-F238E27FC236}">
                <a16:creationId xmlns:a16="http://schemas.microsoft.com/office/drawing/2014/main" id="{1B4B87C1-E91B-4F7A-B834-DB19208955D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63263" y="2188456"/>
            <a:ext cx="2642109" cy="1234038"/>
          </a:xfrm>
          <a:prstGeom prst="rect">
            <a:avLst/>
          </a:prstGeom>
          <a:ln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</p:pic>
      <p:sp>
        <p:nvSpPr>
          <p:cNvPr id="10" name="CaixaDeTexto 9">
            <a:extLst>
              <a:ext uri="{FF2B5EF4-FFF2-40B4-BE49-F238E27FC236}">
                <a16:creationId xmlns:a16="http://schemas.microsoft.com/office/drawing/2014/main" id="{1D664865-4CEF-4C98-9871-3B38B1D1B337}"/>
              </a:ext>
            </a:extLst>
          </p:cNvPr>
          <p:cNvSpPr txBox="1"/>
          <p:nvPr/>
        </p:nvSpPr>
        <p:spPr>
          <a:xfrm>
            <a:off x="5637294" y="4112267"/>
            <a:ext cx="5332614" cy="224676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pt-BR" sz="2000" b="1" dirty="0"/>
              <a:t>MINHA FUNÇÃO: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pt-BR" sz="2000" dirty="0"/>
              <a:t>DEPARTAMENTO DE MARKETING:</a:t>
            </a:r>
          </a:p>
          <a:p>
            <a:pPr marL="1257300" lvl="2" indent="-342900">
              <a:buFont typeface="Arial" panose="020B0604020202020204" pitchFamily="34" charset="0"/>
              <a:buChar char="•"/>
            </a:pPr>
            <a:r>
              <a:rPr lang="pt-BR" sz="2000" dirty="0"/>
              <a:t>Desenvolvimento de Produto</a:t>
            </a:r>
          </a:p>
          <a:p>
            <a:pPr marL="1257300" lvl="2" indent="-342900">
              <a:buFont typeface="Arial" panose="020B0604020202020204" pitchFamily="34" charset="0"/>
              <a:buChar char="•"/>
            </a:pPr>
            <a:r>
              <a:rPr lang="pt-BR" sz="2000" dirty="0"/>
              <a:t>Trade Marketing &amp; Merchandising </a:t>
            </a:r>
          </a:p>
          <a:p>
            <a:pPr marL="1257300" lvl="2" indent="-342900">
              <a:buFont typeface="Arial" panose="020B0604020202020204" pitchFamily="34" charset="0"/>
              <a:buChar char="•"/>
            </a:pPr>
            <a:r>
              <a:rPr lang="pt-BR" sz="2000" dirty="0"/>
              <a:t>Eventos</a:t>
            </a:r>
          </a:p>
          <a:p>
            <a:pPr marL="1257300" lvl="2" indent="-342900">
              <a:buFont typeface="Arial" panose="020B0604020202020204" pitchFamily="34" charset="0"/>
              <a:buChar char="•"/>
            </a:pPr>
            <a:r>
              <a:rPr lang="pt-BR" sz="2000" dirty="0"/>
              <a:t>Digital Marketing (redes sociais </a:t>
            </a:r>
          </a:p>
          <a:p>
            <a:pPr lvl="2"/>
            <a:r>
              <a:rPr lang="pt-BR" sz="2000" dirty="0"/>
              <a:t>+ hotsites)</a:t>
            </a:r>
          </a:p>
        </p:txBody>
      </p:sp>
      <p:sp>
        <p:nvSpPr>
          <p:cNvPr id="12" name="CaixaDeTexto 11">
            <a:extLst>
              <a:ext uri="{FF2B5EF4-FFF2-40B4-BE49-F238E27FC236}">
                <a16:creationId xmlns:a16="http://schemas.microsoft.com/office/drawing/2014/main" id="{8CB1358C-DEB9-4C04-B457-9BBF6A44F7A8}"/>
              </a:ext>
            </a:extLst>
          </p:cNvPr>
          <p:cNvSpPr txBox="1"/>
          <p:nvPr/>
        </p:nvSpPr>
        <p:spPr>
          <a:xfrm>
            <a:off x="207009" y="5570394"/>
            <a:ext cx="527349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pt-BR" sz="2000" b="1" dirty="0"/>
              <a:t>PRESENÇA: 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pt-BR" sz="2000" dirty="0"/>
              <a:t>Sul, Centro Oeste e Sudeste</a:t>
            </a:r>
            <a:r>
              <a:rPr lang="pt-BR" sz="2000" b="1" dirty="0"/>
              <a:t> </a:t>
            </a:r>
            <a:endParaRPr lang="pt-BR" sz="2000" dirty="0"/>
          </a:p>
        </p:txBody>
      </p:sp>
      <p:sp>
        <p:nvSpPr>
          <p:cNvPr id="5" name="Retângulo: Cantos Arredondados 4">
            <a:extLst>
              <a:ext uri="{FF2B5EF4-FFF2-40B4-BE49-F238E27FC236}">
                <a16:creationId xmlns:a16="http://schemas.microsoft.com/office/drawing/2014/main" id="{96287008-8CB4-4E31-88BF-13183BA50AA9}"/>
              </a:ext>
            </a:extLst>
          </p:cNvPr>
          <p:cNvSpPr/>
          <p:nvPr/>
        </p:nvSpPr>
        <p:spPr>
          <a:xfrm>
            <a:off x="9405372" y="3619014"/>
            <a:ext cx="1136822" cy="587122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dirty="0">
                <a:solidFill>
                  <a:schemeClr val="tx1"/>
                </a:solidFill>
              </a:rPr>
              <a:t>+120 fornecedores</a:t>
            </a:r>
            <a:endParaRPr lang="es-MX" sz="1200" dirty="0">
              <a:solidFill>
                <a:schemeClr val="tx1"/>
              </a:solidFill>
            </a:endParaRPr>
          </a:p>
        </p:txBody>
      </p:sp>
      <p:sp>
        <p:nvSpPr>
          <p:cNvPr id="13" name="Retângulo: Cantos Arredondados 12">
            <a:extLst>
              <a:ext uri="{FF2B5EF4-FFF2-40B4-BE49-F238E27FC236}">
                <a16:creationId xmlns:a16="http://schemas.microsoft.com/office/drawing/2014/main" id="{7AC33F4D-009E-4589-B758-01B139DE5AA3}"/>
              </a:ext>
            </a:extLst>
          </p:cNvPr>
          <p:cNvSpPr/>
          <p:nvPr/>
        </p:nvSpPr>
        <p:spPr>
          <a:xfrm>
            <a:off x="10292850" y="4124624"/>
            <a:ext cx="1136822" cy="587122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dirty="0">
                <a:solidFill>
                  <a:schemeClr val="tx1"/>
                </a:solidFill>
              </a:rPr>
              <a:t>5 recursos</a:t>
            </a:r>
            <a:endParaRPr lang="es-MX" sz="1200" dirty="0">
              <a:solidFill>
                <a:schemeClr val="tx1"/>
              </a:solidFill>
            </a:endParaRPr>
          </a:p>
        </p:txBody>
      </p:sp>
      <p:sp>
        <p:nvSpPr>
          <p:cNvPr id="14" name="Retângulo: Cantos Arredondados 13">
            <a:extLst>
              <a:ext uri="{FF2B5EF4-FFF2-40B4-BE49-F238E27FC236}">
                <a16:creationId xmlns:a16="http://schemas.microsoft.com/office/drawing/2014/main" id="{67C5AE55-191A-4F51-AA55-7A928554A8B1}"/>
              </a:ext>
            </a:extLst>
          </p:cNvPr>
          <p:cNvSpPr/>
          <p:nvPr/>
        </p:nvSpPr>
        <p:spPr>
          <a:xfrm>
            <a:off x="10848169" y="4648529"/>
            <a:ext cx="1136822" cy="587122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1200" dirty="0">
                <a:solidFill>
                  <a:schemeClr val="tx1"/>
                </a:solidFill>
              </a:rPr>
              <a:t>≈ 350 </a:t>
            </a:r>
            <a:r>
              <a:rPr lang="es-MX" sz="1200" dirty="0" err="1">
                <a:solidFill>
                  <a:schemeClr val="tx1"/>
                </a:solidFill>
              </a:rPr>
              <a:t>SKUs</a:t>
            </a:r>
            <a:endParaRPr lang="es-MX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425731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tângulo: Cantos Arredondados 12">
            <a:extLst>
              <a:ext uri="{FF2B5EF4-FFF2-40B4-BE49-F238E27FC236}">
                <a16:creationId xmlns:a16="http://schemas.microsoft.com/office/drawing/2014/main" id="{07979F01-FB79-49B8-B452-EE14CCCDA407}"/>
              </a:ext>
            </a:extLst>
          </p:cNvPr>
          <p:cNvSpPr/>
          <p:nvPr/>
        </p:nvSpPr>
        <p:spPr>
          <a:xfrm>
            <a:off x="1640620" y="3815523"/>
            <a:ext cx="4379326" cy="2586849"/>
          </a:xfrm>
          <a:prstGeom prst="roundRect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path path="circle">
              <a:fillToRect r="100000" b="100000"/>
            </a:path>
            <a:tileRect l="-100000" t="-100000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400" dirty="0">
                <a:solidFill>
                  <a:schemeClr val="tx1"/>
                </a:solidFill>
              </a:rPr>
              <a:t>PRAÇA:</a:t>
            </a:r>
          </a:p>
          <a:p>
            <a:endParaRPr lang="pt-BR" dirty="0">
              <a:solidFill>
                <a:schemeClr val="tx1"/>
              </a:solidFill>
            </a:endParaRPr>
          </a:p>
          <a:p>
            <a:endParaRPr lang="pt-BR" dirty="0">
              <a:solidFill>
                <a:schemeClr val="tx1"/>
              </a:solidFill>
            </a:endParaRPr>
          </a:p>
          <a:p>
            <a:r>
              <a:rPr lang="pt-BR" dirty="0">
                <a:solidFill>
                  <a:schemeClr val="tx1"/>
                </a:solidFill>
              </a:rPr>
              <a:t>Canais de Distribuição, Cobertura, </a:t>
            </a:r>
          </a:p>
          <a:p>
            <a:r>
              <a:rPr lang="pt-BR" dirty="0">
                <a:solidFill>
                  <a:schemeClr val="tx1"/>
                </a:solidFill>
              </a:rPr>
              <a:t>Pontos de Vendas, Estoque, </a:t>
            </a:r>
          </a:p>
          <a:p>
            <a:r>
              <a:rPr lang="pt-BR" dirty="0">
                <a:solidFill>
                  <a:schemeClr val="tx1"/>
                </a:solidFill>
              </a:rPr>
              <a:t>Transporte. </a:t>
            </a:r>
            <a:endParaRPr lang="es-MX" dirty="0">
              <a:solidFill>
                <a:schemeClr val="tx1"/>
              </a:solidFill>
            </a:endParaRPr>
          </a:p>
        </p:txBody>
      </p:sp>
      <p:sp>
        <p:nvSpPr>
          <p:cNvPr id="12" name="Retângulo: Cantos Arredondados 11">
            <a:extLst>
              <a:ext uri="{FF2B5EF4-FFF2-40B4-BE49-F238E27FC236}">
                <a16:creationId xmlns:a16="http://schemas.microsoft.com/office/drawing/2014/main" id="{09963660-DECC-494E-A7C1-633AC1E48F71}"/>
              </a:ext>
            </a:extLst>
          </p:cNvPr>
          <p:cNvSpPr/>
          <p:nvPr/>
        </p:nvSpPr>
        <p:spPr>
          <a:xfrm>
            <a:off x="1640620" y="1079232"/>
            <a:ext cx="4379326" cy="2586849"/>
          </a:xfrm>
          <a:prstGeom prst="roundRect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path path="circle">
              <a:fillToRect r="100000" b="100000"/>
            </a:path>
            <a:tileRect l="-100000" t="-100000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400" dirty="0">
                <a:solidFill>
                  <a:schemeClr val="tx1"/>
                </a:solidFill>
              </a:rPr>
              <a:t>PRODUTO:</a:t>
            </a:r>
          </a:p>
          <a:p>
            <a:endParaRPr lang="pt-BR" dirty="0">
              <a:solidFill>
                <a:schemeClr val="tx1"/>
              </a:solidFill>
            </a:endParaRPr>
          </a:p>
          <a:p>
            <a:endParaRPr lang="pt-BR" dirty="0">
              <a:solidFill>
                <a:schemeClr val="tx1"/>
              </a:solidFill>
            </a:endParaRPr>
          </a:p>
          <a:p>
            <a:r>
              <a:rPr lang="pt-BR" dirty="0">
                <a:solidFill>
                  <a:schemeClr val="tx1"/>
                </a:solidFill>
              </a:rPr>
              <a:t>Variedade, Qualidade, Design, </a:t>
            </a:r>
          </a:p>
          <a:p>
            <a:r>
              <a:rPr lang="pt-BR" dirty="0">
                <a:solidFill>
                  <a:schemeClr val="tx1"/>
                </a:solidFill>
              </a:rPr>
              <a:t>Marca, Embalagem, Tamanho, </a:t>
            </a:r>
          </a:p>
          <a:p>
            <a:r>
              <a:rPr lang="pt-BR" dirty="0">
                <a:solidFill>
                  <a:schemeClr val="tx1"/>
                </a:solidFill>
              </a:rPr>
              <a:t>Serviços Associados (garantia, </a:t>
            </a:r>
          </a:p>
          <a:p>
            <a:r>
              <a:rPr lang="pt-BR" dirty="0">
                <a:solidFill>
                  <a:schemeClr val="tx1"/>
                </a:solidFill>
              </a:rPr>
              <a:t>devoluções, etc)</a:t>
            </a:r>
            <a:endParaRPr lang="es-MX" dirty="0">
              <a:solidFill>
                <a:schemeClr val="tx1"/>
              </a:solidFill>
            </a:endParaRPr>
          </a:p>
        </p:txBody>
      </p:sp>
      <p:sp>
        <p:nvSpPr>
          <p:cNvPr id="11" name="Retângulo: Cantos Arredondados 10">
            <a:extLst>
              <a:ext uri="{FF2B5EF4-FFF2-40B4-BE49-F238E27FC236}">
                <a16:creationId xmlns:a16="http://schemas.microsoft.com/office/drawing/2014/main" id="{B48C3BED-65ED-41ED-9D8E-EBABA7CD6B0A}"/>
              </a:ext>
            </a:extLst>
          </p:cNvPr>
          <p:cNvSpPr/>
          <p:nvPr/>
        </p:nvSpPr>
        <p:spPr>
          <a:xfrm>
            <a:off x="6172055" y="1079467"/>
            <a:ext cx="4379326" cy="2586849"/>
          </a:xfrm>
          <a:prstGeom prst="roundRect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path path="circle">
              <a:fillToRect l="100000" t="100000"/>
            </a:path>
            <a:tileRect r="-100000" b="-100000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400" dirty="0">
                <a:solidFill>
                  <a:schemeClr val="tx1"/>
                </a:solidFill>
              </a:rPr>
              <a:t>PREÇO:</a:t>
            </a:r>
          </a:p>
          <a:p>
            <a:endParaRPr lang="pt-BR" dirty="0">
              <a:solidFill>
                <a:schemeClr val="tx1"/>
              </a:solidFill>
            </a:endParaRPr>
          </a:p>
          <a:p>
            <a:pPr algn="r"/>
            <a:endParaRPr lang="pt-BR" dirty="0">
              <a:solidFill>
                <a:schemeClr val="tx1"/>
              </a:solidFill>
            </a:endParaRPr>
          </a:p>
          <a:p>
            <a:pPr algn="r"/>
            <a:r>
              <a:rPr lang="pt-BR" dirty="0">
                <a:solidFill>
                  <a:schemeClr val="tx1"/>
                </a:solidFill>
              </a:rPr>
              <a:t>Preço Base, Descontos,</a:t>
            </a:r>
          </a:p>
          <a:p>
            <a:pPr algn="r"/>
            <a:r>
              <a:rPr lang="pt-BR" dirty="0">
                <a:solidFill>
                  <a:schemeClr val="tx1"/>
                </a:solidFill>
              </a:rPr>
              <a:t>Prazos de Pagamento, </a:t>
            </a:r>
          </a:p>
          <a:p>
            <a:pPr algn="r"/>
            <a:r>
              <a:rPr lang="pt-BR" dirty="0">
                <a:solidFill>
                  <a:schemeClr val="tx1"/>
                </a:solidFill>
              </a:rPr>
              <a:t>Condições de Pagamento. </a:t>
            </a:r>
          </a:p>
          <a:p>
            <a:pPr algn="r"/>
            <a:endParaRPr lang="es-MX" dirty="0">
              <a:solidFill>
                <a:schemeClr val="tx1"/>
              </a:solidFill>
            </a:endParaRPr>
          </a:p>
        </p:txBody>
      </p:sp>
      <p:sp>
        <p:nvSpPr>
          <p:cNvPr id="10" name="Retângulo: Cantos Arredondados 9">
            <a:extLst>
              <a:ext uri="{FF2B5EF4-FFF2-40B4-BE49-F238E27FC236}">
                <a16:creationId xmlns:a16="http://schemas.microsoft.com/office/drawing/2014/main" id="{150ABA62-EEA7-429A-9EB6-4DBD49C40EB4}"/>
              </a:ext>
            </a:extLst>
          </p:cNvPr>
          <p:cNvSpPr/>
          <p:nvPr/>
        </p:nvSpPr>
        <p:spPr>
          <a:xfrm>
            <a:off x="6172055" y="3835705"/>
            <a:ext cx="4379326" cy="2586849"/>
          </a:xfrm>
          <a:prstGeom prst="roundRect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path path="circle">
              <a:fillToRect l="100000" t="100000"/>
            </a:path>
            <a:tileRect r="-100000" b="-100000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400" dirty="0">
                <a:solidFill>
                  <a:schemeClr val="tx1"/>
                </a:solidFill>
              </a:rPr>
              <a:t>      PROMOÇÃO:</a:t>
            </a:r>
          </a:p>
          <a:p>
            <a:endParaRPr lang="pt-BR" dirty="0">
              <a:solidFill>
                <a:schemeClr val="tx1"/>
              </a:solidFill>
            </a:endParaRPr>
          </a:p>
          <a:p>
            <a:endParaRPr lang="pt-BR" dirty="0">
              <a:solidFill>
                <a:schemeClr val="tx1"/>
              </a:solidFill>
            </a:endParaRPr>
          </a:p>
          <a:p>
            <a:pPr algn="r"/>
            <a:r>
              <a:rPr lang="pt-BR" dirty="0">
                <a:solidFill>
                  <a:schemeClr val="tx1"/>
                </a:solidFill>
              </a:rPr>
              <a:t>Publicidade &amp; propaganda,</a:t>
            </a:r>
          </a:p>
          <a:p>
            <a:pPr algn="r"/>
            <a:r>
              <a:rPr lang="pt-BR" dirty="0">
                <a:solidFill>
                  <a:schemeClr val="tx1"/>
                </a:solidFill>
              </a:rPr>
              <a:t>Redes Sociais,</a:t>
            </a:r>
          </a:p>
          <a:p>
            <a:pPr algn="r"/>
            <a:r>
              <a:rPr lang="pt-BR" dirty="0">
                <a:solidFill>
                  <a:schemeClr val="tx1"/>
                </a:solidFill>
              </a:rPr>
              <a:t>Ações Físicas em PDV</a:t>
            </a:r>
            <a:endParaRPr lang="es-MX" dirty="0">
              <a:solidFill>
                <a:schemeClr val="tx1"/>
              </a:solidFill>
            </a:endParaRPr>
          </a:p>
        </p:txBody>
      </p:sp>
      <p:sp>
        <p:nvSpPr>
          <p:cNvPr id="2" name="TextBox 7">
            <a:extLst>
              <a:ext uri="{FF2B5EF4-FFF2-40B4-BE49-F238E27FC236}">
                <a16:creationId xmlns:a16="http://schemas.microsoft.com/office/drawing/2014/main" id="{6EFCD3BC-61BA-4409-870A-A483BD07DC26}"/>
              </a:ext>
            </a:extLst>
          </p:cNvPr>
          <p:cNvSpPr txBox="1"/>
          <p:nvPr/>
        </p:nvSpPr>
        <p:spPr>
          <a:xfrm>
            <a:off x="991501" y="0"/>
            <a:ext cx="9662983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3600" dirty="0"/>
              <a:t>…E O MARKETING?</a:t>
            </a:r>
          </a:p>
        </p:txBody>
      </p:sp>
      <p:pic>
        <p:nvPicPr>
          <p:cNvPr id="5" name="Imagem 4">
            <a:extLst>
              <a:ext uri="{FF2B5EF4-FFF2-40B4-BE49-F238E27FC236}">
                <a16:creationId xmlns:a16="http://schemas.microsoft.com/office/drawing/2014/main" id="{E5368FA4-31CF-4326-A67D-B2E8AEB1A81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4300" y="71544"/>
            <a:ext cx="847725" cy="790575"/>
          </a:xfrm>
          <a:prstGeom prst="rect">
            <a:avLst/>
          </a:prstGeom>
        </p:spPr>
      </p:pic>
      <p:pic>
        <p:nvPicPr>
          <p:cNvPr id="6" name="Imagem 5">
            <a:extLst>
              <a:ext uri="{FF2B5EF4-FFF2-40B4-BE49-F238E27FC236}">
                <a16:creationId xmlns:a16="http://schemas.microsoft.com/office/drawing/2014/main" id="{B6234C78-1A25-4183-B9EA-2C6FF430136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87119" y="71544"/>
            <a:ext cx="1329131" cy="698646"/>
          </a:xfrm>
          <a:prstGeom prst="rect">
            <a:avLst/>
          </a:prstGeom>
        </p:spPr>
      </p:pic>
      <p:sp>
        <p:nvSpPr>
          <p:cNvPr id="7" name="CaixaDeTexto 6">
            <a:extLst>
              <a:ext uri="{FF2B5EF4-FFF2-40B4-BE49-F238E27FC236}">
                <a16:creationId xmlns:a16="http://schemas.microsoft.com/office/drawing/2014/main" id="{828F408B-5239-4F4A-9600-7D894A2E0F3C}"/>
              </a:ext>
            </a:extLst>
          </p:cNvPr>
          <p:cNvSpPr txBox="1"/>
          <p:nvPr/>
        </p:nvSpPr>
        <p:spPr>
          <a:xfrm>
            <a:off x="4982827" y="2182254"/>
            <a:ext cx="2258952" cy="30777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1200" dirty="0"/>
              <a:t>(sensação de ser/</a:t>
            </a:r>
          </a:p>
          <a:p>
            <a:pPr algn="ctr"/>
            <a:r>
              <a:rPr lang="pt-BR" sz="1200" dirty="0"/>
              <a:t>parecer/pertencer</a:t>
            </a:r>
          </a:p>
          <a:p>
            <a:pPr algn="ctr"/>
            <a:r>
              <a:rPr lang="pt-BR" dirty="0"/>
              <a:t>DESEJOS</a:t>
            </a:r>
          </a:p>
          <a:p>
            <a:pPr algn="ctr"/>
            <a:endParaRPr lang="es-MX" dirty="0"/>
          </a:p>
          <a:p>
            <a:pPr algn="ctr"/>
            <a:endParaRPr lang="pt-BR" dirty="0"/>
          </a:p>
          <a:p>
            <a:pPr algn="ctr"/>
            <a:r>
              <a:rPr lang="pt-BR" sz="4400" dirty="0"/>
              <a:t>CLIENTE</a:t>
            </a:r>
          </a:p>
          <a:p>
            <a:pPr algn="ctr"/>
            <a:r>
              <a:rPr lang="pt-BR" sz="1200" dirty="0"/>
              <a:t>(mercado alvo)</a:t>
            </a:r>
          </a:p>
          <a:p>
            <a:pPr algn="ctr"/>
            <a:endParaRPr lang="pt-BR" sz="1200" dirty="0"/>
          </a:p>
          <a:p>
            <a:pPr algn="ctr"/>
            <a:endParaRPr lang="pt-BR" dirty="0"/>
          </a:p>
          <a:p>
            <a:pPr algn="ctr"/>
            <a:r>
              <a:rPr lang="pt-BR" dirty="0"/>
              <a:t> NECESSIDADES</a:t>
            </a:r>
          </a:p>
          <a:p>
            <a:pPr algn="ctr"/>
            <a:r>
              <a:rPr lang="pt-BR" sz="1200" dirty="0"/>
              <a:t>(o que precisa)</a:t>
            </a:r>
          </a:p>
        </p:txBody>
      </p:sp>
      <p:sp>
        <p:nvSpPr>
          <p:cNvPr id="8" name="Seta: Curva para a Direita 7">
            <a:extLst>
              <a:ext uri="{FF2B5EF4-FFF2-40B4-BE49-F238E27FC236}">
                <a16:creationId xmlns:a16="http://schemas.microsoft.com/office/drawing/2014/main" id="{B868CDB8-6A7E-4AB2-AB54-CC4A2DAE1968}"/>
              </a:ext>
            </a:extLst>
          </p:cNvPr>
          <p:cNvSpPr/>
          <p:nvPr/>
        </p:nvSpPr>
        <p:spPr>
          <a:xfrm>
            <a:off x="4658540" y="2733252"/>
            <a:ext cx="719184" cy="2236305"/>
          </a:xfrm>
          <a:prstGeom prst="curv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dirty="0">
              <a:solidFill>
                <a:schemeClr val="tx1"/>
              </a:solidFill>
            </a:endParaRPr>
          </a:p>
        </p:txBody>
      </p:sp>
      <p:sp>
        <p:nvSpPr>
          <p:cNvPr id="9" name="Seta: Curva para a Direita 8">
            <a:extLst>
              <a:ext uri="{FF2B5EF4-FFF2-40B4-BE49-F238E27FC236}">
                <a16:creationId xmlns:a16="http://schemas.microsoft.com/office/drawing/2014/main" id="{580162FA-A7C8-4E53-B00D-8B3B2D693261}"/>
              </a:ext>
            </a:extLst>
          </p:cNvPr>
          <p:cNvSpPr/>
          <p:nvPr/>
        </p:nvSpPr>
        <p:spPr>
          <a:xfrm rot="10800000">
            <a:off x="7020938" y="2598006"/>
            <a:ext cx="719183" cy="2306009"/>
          </a:xfrm>
          <a:prstGeom prst="curv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>
                <a:solidFill>
                  <a:schemeClr val="tx1"/>
                </a:solidFill>
              </a:rPr>
              <a:t> </a:t>
            </a:r>
            <a:endParaRPr lang="es-MX" dirty="0">
              <a:solidFill>
                <a:schemeClr val="tx1"/>
              </a:solidFill>
            </a:endParaRPr>
          </a:p>
        </p:txBody>
      </p:sp>
      <p:sp>
        <p:nvSpPr>
          <p:cNvPr id="14" name="CaixaDeTexto 13">
            <a:extLst>
              <a:ext uri="{FF2B5EF4-FFF2-40B4-BE49-F238E27FC236}">
                <a16:creationId xmlns:a16="http://schemas.microsoft.com/office/drawing/2014/main" id="{44893856-E617-425C-A0D3-BA785D4E640F}"/>
              </a:ext>
            </a:extLst>
          </p:cNvPr>
          <p:cNvSpPr txBox="1"/>
          <p:nvPr/>
        </p:nvSpPr>
        <p:spPr>
          <a:xfrm>
            <a:off x="3294064" y="6469688"/>
            <a:ext cx="136447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400" dirty="0">
                <a:solidFill>
                  <a:srgbClr val="0070C0"/>
                </a:solidFill>
              </a:rPr>
              <a:t>CONVENIÊNCIA</a:t>
            </a:r>
            <a:endParaRPr lang="es-MX" sz="1400" dirty="0">
              <a:solidFill>
                <a:srgbClr val="0070C0"/>
              </a:solidFill>
            </a:endParaRPr>
          </a:p>
        </p:txBody>
      </p:sp>
      <p:sp>
        <p:nvSpPr>
          <p:cNvPr id="15" name="CaixaDeTexto 14">
            <a:extLst>
              <a:ext uri="{FF2B5EF4-FFF2-40B4-BE49-F238E27FC236}">
                <a16:creationId xmlns:a16="http://schemas.microsoft.com/office/drawing/2014/main" id="{3DB07AC0-5F35-4B47-B8C8-C08946483AC9}"/>
              </a:ext>
            </a:extLst>
          </p:cNvPr>
          <p:cNvSpPr txBox="1"/>
          <p:nvPr/>
        </p:nvSpPr>
        <p:spPr>
          <a:xfrm>
            <a:off x="8050269" y="6469688"/>
            <a:ext cx="136608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400" dirty="0">
                <a:solidFill>
                  <a:srgbClr val="0070C0"/>
                </a:solidFill>
              </a:rPr>
              <a:t>COMUNICAÇÃO</a:t>
            </a:r>
            <a:endParaRPr lang="es-MX" sz="1400" dirty="0">
              <a:solidFill>
                <a:srgbClr val="0070C0"/>
              </a:solidFill>
            </a:endParaRPr>
          </a:p>
        </p:txBody>
      </p:sp>
      <p:sp>
        <p:nvSpPr>
          <p:cNvPr id="16" name="CaixaDeTexto 15">
            <a:extLst>
              <a:ext uri="{FF2B5EF4-FFF2-40B4-BE49-F238E27FC236}">
                <a16:creationId xmlns:a16="http://schemas.microsoft.com/office/drawing/2014/main" id="{9DB3AB1A-8D72-4B6E-8866-A0E9820D3468}"/>
              </a:ext>
            </a:extLst>
          </p:cNvPr>
          <p:cNvSpPr txBox="1"/>
          <p:nvPr/>
        </p:nvSpPr>
        <p:spPr>
          <a:xfrm>
            <a:off x="7740121" y="770368"/>
            <a:ext cx="15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400" dirty="0">
                <a:solidFill>
                  <a:srgbClr val="0070C0"/>
                </a:solidFill>
              </a:rPr>
              <a:t>CUSTO ACESSÍVEL</a:t>
            </a:r>
            <a:endParaRPr lang="es-MX" sz="1400" dirty="0">
              <a:solidFill>
                <a:srgbClr val="0070C0"/>
              </a:solidFill>
            </a:endParaRPr>
          </a:p>
        </p:txBody>
      </p:sp>
      <p:sp>
        <p:nvSpPr>
          <p:cNvPr id="17" name="CaixaDeTexto 16">
            <a:extLst>
              <a:ext uri="{FF2B5EF4-FFF2-40B4-BE49-F238E27FC236}">
                <a16:creationId xmlns:a16="http://schemas.microsoft.com/office/drawing/2014/main" id="{29C4A85A-BB5C-4420-8CD4-8C67709E0620}"/>
              </a:ext>
            </a:extLst>
          </p:cNvPr>
          <p:cNvSpPr txBox="1"/>
          <p:nvPr/>
        </p:nvSpPr>
        <p:spPr>
          <a:xfrm>
            <a:off x="2871510" y="750044"/>
            <a:ext cx="226113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400" dirty="0">
                <a:solidFill>
                  <a:srgbClr val="0070C0"/>
                </a:solidFill>
              </a:rPr>
              <a:t>SOLUÇÃO PARA O CLIENTE</a:t>
            </a:r>
            <a:endParaRPr lang="es-MX" sz="1400" dirty="0">
              <a:solidFill>
                <a:srgbClr val="0070C0"/>
              </a:solidFill>
            </a:endParaRPr>
          </a:p>
        </p:txBody>
      </p:sp>
      <p:sp>
        <p:nvSpPr>
          <p:cNvPr id="18" name="CaixaDeTexto 17">
            <a:extLst>
              <a:ext uri="{FF2B5EF4-FFF2-40B4-BE49-F238E27FC236}">
                <a16:creationId xmlns:a16="http://schemas.microsoft.com/office/drawing/2014/main" id="{28632B09-C7CA-4D22-8885-98BE2B73B23B}"/>
              </a:ext>
            </a:extLst>
          </p:cNvPr>
          <p:cNvSpPr txBox="1"/>
          <p:nvPr/>
        </p:nvSpPr>
        <p:spPr>
          <a:xfrm rot="5400000">
            <a:off x="10442601" y="2196346"/>
            <a:ext cx="59054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400" dirty="0"/>
              <a:t>Valor</a:t>
            </a:r>
            <a:endParaRPr lang="es-MX" sz="1400" dirty="0"/>
          </a:p>
        </p:txBody>
      </p:sp>
      <p:sp>
        <p:nvSpPr>
          <p:cNvPr id="19" name="CaixaDeTexto 18">
            <a:extLst>
              <a:ext uri="{FF2B5EF4-FFF2-40B4-BE49-F238E27FC236}">
                <a16:creationId xmlns:a16="http://schemas.microsoft.com/office/drawing/2014/main" id="{1FA1CCA4-EBF5-4EC0-A56B-213E959CB6DF}"/>
              </a:ext>
            </a:extLst>
          </p:cNvPr>
          <p:cNvSpPr txBox="1"/>
          <p:nvPr/>
        </p:nvSpPr>
        <p:spPr>
          <a:xfrm rot="5400000">
            <a:off x="10233762" y="5110942"/>
            <a:ext cx="100822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400" dirty="0"/>
              <a:t>Percepção</a:t>
            </a:r>
            <a:endParaRPr lang="es-MX" sz="1400" dirty="0"/>
          </a:p>
        </p:txBody>
      </p:sp>
      <p:sp>
        <p:nvSpPr>
          <p:cNvPr id="20" name="CaixaDeTexto 19">
            <a:extLst>
              <a:ext uri="{FF2B5EF4-FFF2-40B4-BE49-F238E27FC236}">
                <a16:creationId xmlns:a16="http://schemas.microsoft.com/office/drawing/2014/main" id="{080364DE-AAD7-4383-BBD4-11B79799F3BF}"/>
              </a:ext>
            </a:extLst>
          </p:cNvPr>
          <p:cNvSpPr txBox="1"/>
          <p:nvPr/>
        </p:nvSpPr>
        <p:spPr>
          <a:xfrm rot="16200000">
            <a:off x="951997" y="2196346"/>
            <a:ext cx="100380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400" dirty="0"/>
              <a:t>Benefícios</a:t>
            </a:r>
            <a:endParaRPr lang="es-MX" sz="1400" dirty="0"/>
          </a:p>
        </p:txBody>
      </p:sp>
      <p:sp>
        <p:nvSpPr>
          <p:cNvPr id="21" name="CaixaDeTexto 20">
            <a:extLst>
              <a:ext uri="{FF2B5EF4-FFF2-40B4-BE49-F238E27FC236}">
                <a16:creationId xmlns:a16="http://schemas.microsoft.com/office/drawing/2014/main" id="{BE9CE606-8C9E-407A-BC52-C2C20305E772}"/>
              </a:ext>
            </a:extLst>
          </p:cNvPr>
          <p:cNvSpPr txBox="1"/>
          <p:nvPr/>
        </p:nvSpPr>
        <p:spPr>
          <a:xfrm rot="16200000">
            <a:off x="749219" y="4955058"/>
            <a:ext cx="140936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400" dirty="0"/>
              <a:t>Disponibilidade</a:t>
            </a:r>
            <a:endParaRPr lang="es-MX" sz="1400" dirty="0"/>
          </a:p>
        </p:txBody>
      </p:sp>
    </p:spTree>
    <p:extLst>
      <p:ext uri="{BB962C8B-B14F-4D97-AF65-F5344CB8AC3E}">
        <p14:creationId xmlns:p14="http://schemas.microsoft.com/office/powerpoint/2010/main" val="25831347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2" grpId="0" animBg="1"/>
      <p:bldP spid="11" grpId="0" animBg="1"/>
      <p:bldP spid="10" grpId="0" animBg="1"/>
      <p:bldP spid="7" grpId="0"/>
      <p:bldP spid="8" grpId="0" animBg="1"/>
      <p:bldP spid="9" grpId="0" animBg="1"/>
      <p:bldP spid="14" grpId="0"/>
      <p:bldP spid="15" grpId="0"/>
      <p:bldP spid="16" grpId="0"/>
      <p:bldP spid="17" grpId="0"/>
      <p:bldP spid="18" grpId="0"/>
      <p:bldP spid="19" grpId="0"/>
      <p:bldP spid="20" grpId="0"/>
      <p:bldP spid="21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Estrela: 5 Pontas 17">
            <a:extLst>
              <a:ext uri="{FF2B5EF4-FFF2-40B4-BE49-F238E27FC236}">
                <a16:creationId xmlns:a16="http://schemas.microsoft.com/office/drawing/2014/main" id="{62C7D5BE-E092-416C-9932-7B47000BABB7}"/>
              </a:ext>
            </a:extLst>
          </p:cNvPr>
          <p:cNvSpPr/>
          <p:nvPr/>
        </p:nvSpPr>
        <p:spPr>
          <a:xfrm>
            <a:off x="5606318" y="2511734"/>
            <a:ext cx="2404804" cy="2277231"/>
          </a:xfrm>
          <a:prstGeom prst="star5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dirty="0"/>
          </a:p>
        </p:txBody>
      </p:sp>
      <p:sp>
        <p:nvSpPr>
          <p:cNvPr id="2" name="TextBox 7">
            <a:extLst>
              <a:ext uri="{FF2B5EF4-FFF2-40B4-BE49-F238E27FC236}">
                <a16:creationId xmlns:a16="http://schemas.microsoft.com/office/drawing/2014/main" id="{1DAB3CFD-9A57-4461-9CEF-78961F23C841}"/>
              </a:ext>
            </a:extLst>
          </p:cNvPr>
          <p:cNvSpPr txBox="1"/>
          <p:nvPr/>
        </p:nvSpPr>
        <p:spPr>
          <a:xfrm>
            <a:off x="991501" y="0"/>
            <a:ext cx="9662983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3600" dirty="0"/>
              <a:t>COMO TRABALHAMOS ENTÃO?</a:t>
            </a: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11E221DB-9059-4D01-A1EF-3A9614AF083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4300" y="71544"/>
            <a:ext cx="847725" cy="790575"/>
          </a:xfrm>
          <a:prstGeom prst="rect">
            <a:avLst/>
          </a:prstGeom>
        </p:spPr>
      </p:pic>
      <p:pic>
        <p:nvPicPr>
          <p:cNvPr id="4" name="Imagem 3">
            <a:extLst>
              <a:ext uri="{FF2B5EF4-FFF2-40B4-BE49-F238E27FC236}">
                <a16:creationId xmlns:a16="http://schemas.microsoft.com/office/drawing/2014/main" id="{3A7B75A0-8E6F-43D2-AE2F-3F1312FB9B3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787119" y="71544"/>
            <a:ext cx="1329131" cy="69864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AEDDCC8D-6875-4FA9-BF26-1429DD5836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54543" y="1300277"/>
            <a:ext cx="4857012" cy="425744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6" name="Elipse 5">
            <a:extLst>
              <a:ext uri="{FF2B5EF4-FFF2-40B4-BE49-F238E27FC236}">
                <a16:creationId xmlns:a16="http://schemas.microsoft.com/office/drawing/2014/main" id="{5135ECFD-FB30-4D74-8EF6-EDD84E3EEDF0}"/>
              </a:ext>
            </a:extLst>
          </p:cNvPr>
          <p:cNvSpPr/>
          <p:nvPr/>
        </p:nvSpPr>
        <p:spPr>
          <a:xfrm>
            <a:off x="422722" y="2994434"/>
            <a:ext cx="768599" cy="869132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000" dirty="0"/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612D69E3-C1DF-42A5-9E57-BBE54A815F58}"/>
              </a:ext>
            </a:extLst>
          </p:cNvPr>
          <p:cNvSpPr txBox="1"/>
          <p:nvPr/>
        </p:nvSpPr>
        <p:spPr>
          <a:xfrm>
            <a:off x="413101" y="3175084"/>
            <a:ext cx="778220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900" b="1" dirty="0"/>
              <a:t>Preço e</a:t>
            </a:r>
            <a:br>
              <a:rPr lang="pt-BR" sz="900" b="1" dirty="0"/>
            </a:br>
            <a:r>
              <a:rPr lang="pt-BR" sz="900" b="1" dirty="0"/>
              <a:t>promoção</a:t>
            </a:r>
            <a:br>
              <a:rPr lang="pt-BR" sz="900" b="1" dirty="0"/>
            </a:br>
            <a:r>
              <a:rPr lang="pt-BR" sz="900" b="1" dirty="0"/>
              <a:t>corretos</a:t>
            </a:r>
          </a:p>
        </p:txBody>
      </p:sp>
      <p:sp>
        <p:nvSpPr>
          <p:cNvPr id="8" name="Elipse 7">
            <a:extLst>
              <a:ext uri="{FF2B5EF4-FFF2-40B4-BE49-F238E27FC236}">
                <a16:creationId xmlns:a16="http://schemas.microsoft.com/office/drawing/2014/main" id="{D019EF0A-CB14-421F-886F-2359043213F2}"/>
              </a:ext>
            </a:extLst>
          </p:cNvPr>
          <p:cNvSpPr/>
          <p:nvPr/>
        </p:nvSpPr>
        <p:spPr>
          <a:xfrm>
            <a:off x="1563906" y="2838492"/>
            <a:ext cx="2011640" cy="112987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000" b="1" dirty="0">
                <a:solidFill>
                  <a:schemeClr val="tx1"/>
                </a:solidFill>
              </a:rPr>
              <a:t>+ VENDAS</a:t>
            </a:r>
          </a:p>
        </p:txBody>
      </p:sp>
      <p:sp>
        <p:nvSpPr>
          <p:cNvPr id="9" name="Elipse 8">
            <a:extLst>
              <a:ext uri="{FF2B5EF4-FFF2-40B4-BE49-F238E27FC236}">
                <a16:creationId xmlns:a16="http://schemas.microsoft.com/office/drawing/2014/main" id="{01DF43CD-B499-4FB3-9060-A2A3BEDA09B8}"/>
              </a:ext>
            </a:extLst>
          </p:cNvPr>
          <p:cNvSpPr/>
          <p:nvPr/>
        </p:nvSpPr>
        <p:spPr>
          <a:xfrm>
            <a:off x="2149083" y="1501976"/>
            <a:ext cx="818266" cy="890526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000" dirty="0"/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E39D769C-3A86-410D-A895-129E78E31BEA}"/>
              </a:ext>
            </a:extLst>
          </p:cNvPr>
          <p:cNvSpPr txBox="1"/>
          <p:nvPr/>
        </p:nvSpPr>
        <p:spPr>
          <a:xfrm>
            <a:off x="2122063" y="1762573"/>
            <a:ext cx="8723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900" b="1" dirty="0"/>
              <a:t>Presença</a:t>
            </a:r>
          </a:p>
          <a:p>
            <a:pPr algn="ctr"/>
            <a:r>
              <a:rPr lang="pt-BR" sz="900" b="1" dirty="0"/>
              <a:t>em gôndola</a:t>
            </a:r>
          </a:p>
        </p:txBody>
      </p:sp>
      <p:sp>
        <p:nvSpPr>
          <p:cNvPr id="11" name="Elipse 10">
            <a:extLst>
              <a:ext uri="{FF2B5EF4-FFF2-40B4-BE49-F238E27FC236}">
                <a16:creationId xmlns:a16="http://schemas.microsoft.com/office/drawing/2014/main" id="{D213E8D6-713F-4E82-BEC6-0F57CFECC1E1}"/>
              </a:ext>
            </a:extLst>
          </p:cNvPr>
          <p:cNvSpPr/>
          <p:nvPr/>
        </p:nvSpPr>
        <p:spPr>
          <a:xfrm>
            <a:off x="3982728" y="2978532"/>
            <a:ext cx="768599" cy="869132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000" dirty="0">
              <a:solidFill>
                <a:schemeClr val="tx1"/>
              </a:solidFill>
            </a:endParaRPr>
          </a:p>
        </p:txBody>
      </p:sp>
      <p:sp>
        <p:nvSpPr>
          <p:cNvPr id="12" name="CaixaDeTexto 11">
            <a:extLst>
              <a:ext uri="{FF2B5EF4-FFF2-40B4-BE49-F238E27FC236}">
                <a16:creationId xmlns:a16="http://schemas.microsoft.com/office/drawing/2014/main" id="{4263D87D-97C2-4114-B3E3-D59E628414A5}"/>
              </a:ext>
            </a:extLst>
          </p:cNvPr>
          <p:cNvSpPr txBox="1"/>
          <p:nvPr/>
        </p:nvSpPr>
        <p:spPr>
          <a:xfrm>
            <a:off x="3965429" y="3154387"/>
            <a:ext cx="831983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900" b="1" dirty="0"/>
              <a:t>Velocidade</a:t>
            </a:r>
            <a:br>
              <a:rPr lang="pt-BR" sz="900" b="1" dirty="0"/>
            </a:br>
            <a:r>
              <a:rPr lang="pt-BR" sz="900" b="1" dirty="0"/>
              <a:t>das</a:t>
            </a:r>
            <a:br>
              <a:rPr lang="pt-BR" sz="900" b="1" dirty="0"/>
            </a:br>
            <a:r>
              <a:rPr lang="pt-BR" sz="900" b="1" dirty="0"/>
              <a:t>inovações</a:t>
            </a:r>
          </a:p>
        </p:txBody>
      </p:sp>
      <p:sp>
        <p:nvSpPr>
          <p:cNvPr id="13" name="Elipse 12">
            <a:extLst>
              <a:ext uri="{FF2B5EF4-FFF2-40B4-BE49-F238E27FC236}">
                <a16:creationId xmlns:a16="http://schemas.microsoft.com/office/drawing/2014/main" id="{5AC9763E-90F5-4BEC-88AB-ACDC83990F69}"/>
              </a:ext>
            </a:extLst>
          </p:cNvPr>
          <p:cNvSpPr/>
          <p:nvPr/>
        </p:nvSpPr>
        <p:spPr>
          <a:xfrm>
            <a:off x="2173915" y="4477020"/>
            <a:ext cx="768599" cy="869132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000" dirty="0">
              <a:solidFill>
                <a:schemeClr val="tx1"/>
              </a:solidFill>
            </a:endParaRPr>
          </a:p>
        </p:txBody>
      </p:sp>
      <p:sp>
        <p:nvSpPr>
          <p:cNvPr id="14" name="CaixaDeTexto 13">
            <a:extLst>
              <a:ext uri="{FF2B5EF4-FFF2-40B4-BE49-F238E27FC236}">
                <a16:creationId xmlns:a16="http://schemas.microsoft.com/office/drawing/2014/main" id="{CCFAB49A-C7FA-4B1A-B4F6-0371E2D6EB1C}"/>
              </a:ext>
            </a:extLst>
          </p:cNvPr>
          <p:cNvSpPr txBox="1"/>
          <p:nvPr/>
        </p:nvSpPr>
        <p:spPr>
          <a:xfrm>
            <a:off x="2149083" y="4674953"/>
            <a:ext cx="8723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900" b="1" dirty="0"/>
              <a:t>Espaço</a:t>
            </a:r>
          </a:p>
          <a:p>
            <a:pPr algn="ctr"/>
            <a:r>
              <a:rPr lang="pt-BR" sz="900" b="1" dirty="0"/>
              <a:t>em gôndola</a:t>
            </a:r>
          </a:p>
        </p:txBody>
      </p:sp>
      <p:sp>
        <p:nvSpPr>
          <p:cNvPr id="16" name="Retângulo 15">
            <a:extLst>
              <a:ext uri="{FF2B5EF4-FFF2-40B4-BE49-F238E27FC236}">
                <a16:creationId xmlns:a16="http://schemas.microsoft.com/office/drawing/2014/main" id="{6DFF1F58-35FF-4020-88E8-3BEA2B4D43D6}"/>
              </a:ext>
            </a:extLst>
          </p:cNvPr>
          <p:cNvSpPr/>
          <p:nvPr/>
        </p:nvSpPr>
        <p:spPr>
          <a:xfrm>
            <a:off x="514008" y="5818320"/>
            <a:ext cx="4857012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400" dirty="0">
                <a:latin typeface="Arial"/>
              </a:rPr>
              <a:t>In consumer goods, “Strategy is only 10%; 90% of success is down to execution.”— Paul Polman, Unilever Former CEO</a:t>
            </a:r>
          </a:p>
        </p:txBody>
      </p:sp>
      <p:sp>
        <p:nvSpPr>
          <p:cNvPr id="17" name="CaixaDeTexto 16">
            <a:extLst>
              <a:ext uri="{FF2B5EF4-FFF2-40B4-BE49-F238E27FC236}">
                <a16:creationId xmlns:a16="http://schemas.microsoft.com/office/drawing/2014/main" id="{0FD14BBE-2620-4E27-86FD-83F2545834E3}"/>
              </a:ext>
            </a:extLst>
          </p:cNvPr>
          <p:cNvSpPr txBox="1"/>
          <p:nvPr/>
        </p:nvSpPr>
        <p:spPr>
          <a:xfrm>
            <a:off x="6249934" y="3343714"/>
            <a:ext cx="1091023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400" dirty="0"/>
              <a:t>INFO </a:t>
            </a:r>
          </a:p>
          <a:p>
            <a:pPr algn="ctr"/>
            <a:r>
              <a:rPr lang="pt-BR" sz="1400" dirty="0"/>
              <a:t>TO </a:t>
            </a:r>
          </a:p>
          <a:p>
            <a:pPr algn="ctr"/>
            <a:r>
              <a:rPr lang="pt-BR" sz="1400" dirty="0"/>
              <a:t>ACTION</a:t>
            </a:r>
            <a:endParaRPr lang="es-MX" sz="1400" dirty="0"/>
          </a:p>
        </p:txBody>
      </p:sp>
      <p:sp>
        <p:nvSpPr>
          <p:cNvPr id="19" name="Retângulo 18">
            <a:extLst>
              <a:ext uri="{FF2B5EF4-FFF2-40B4-BE49-F238E27FC236}">
                <a16:creationId xmlns:a16="http://schemas.microsoft.com/office/drawing/2014/main" id="{1CABA6FF-8D3E-4F6A-B56D-33FCAFCB65D7}"/>
              </a:ext>
            </a:extLst>
          </p:cNvPr>
          <p:cNvSpPr/>
          <p:nvPr/>
        </p:nvSpPr>
        <p:spPr>
          <a:xfrm>
            <a:off x="3775994" y="1071318"/>
            <a:ext cx="8054729" cy="95410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r>
              <a:rPr lang="en-GB" sz="1400" dirty="0">
                <a:latin typeface="Arial"/>
              </a:rPr>
              <a:t>A nova economia indica que a lealdade dos consumidores por marcas é baixa…e que as compras em lojas são amplamente baseadas em decisões por impulso no PDV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>
                <a:latin typeface="Arial"/>
              </a:rPr>
              <a:t>90% das decisões de compra são tomadas no PDV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>
                <a:latin typeface="Arial"/>
              </a:rPr>
              <a:t>Se as marcas preferidas não são encontradas em 2 lojas visitadas, elas são retiradas da lista;</a:t>
            </a:r>
          </a:p>
        </p:txBody>
      </p:sp>
      <p:pic>
        <p:nvPicPr>
          <p:cNvPr id="20" name="Imagem 19">
            <a:extLst>
              <a:ext uri="{FF2B5EF4-FFF2-40B4-BE49-F238E27FC236}">
                <a16:creationId xmlns:a16="http://schemas.microsoft.com/office/drawing/2014/main" id="{9155F037-9C49-4B6C-A346-6F7AD300EE5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877761" y="2581784"/>
            <a:ext cx="1400223" cy="513415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2" name="Imagem 21">
            <a:extLst>
              <a:ext uri="{FF2B5EF4-FFF2-40B4-BE49-F238E27FC236}">
                <a16:creationId xmlns:a16="http://schemas.microsoft.com/office/drawing/2014/main" id="{B5D5693A-9922-4FD8-81D9-28F1001146A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760813" y="3713046"/>
            <a:ext cx="1026306" cy="500935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3" name="Picture 287">
            <a:hlinkClick r:id="" action="ppaction://noaction"/>
            <a:extLst>
              <a:ext uri="{FF2B5EF4-FFF2-40B4-BE49-F238E27FC236}">
                <a16:creationId xmlns:a16="http://schemas.microsoft.com/office/drawing/2014/main" id="{7EC8F31D-4F87-4C87-8AEC-D77ECE4BD388}"/>
              </a:ext>
            </a:extLst>
          </p:cNvPr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74638" y="4601674"/>
            <a:ext cx="1468279" cy="744478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4" name="Retângulo 23">
            <a:extLst>
              <a:ext uri="{FF2B5EF4-FFF2-40B4-BE49-F238E27FC236}">
                <a16:creationId xmlns:a16="http://schemas.microsoft.com/office/drawing/2014/main" id="{0F312112-23E6-4AAC-BF59-FBE7823B9E93}"/>
              </a:ext>
            </a:extLst>
          </p:cNvPr>
          <p:cNvSpPr/>
          <p:nvPr/>
        </p:nvSpPr>
        <p:spPr>
          <a:xfrm>
            <a:off x="8499100" y="5387222"/>
            <a:ext cx="161935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400" dirty="0">
                <a:latin typeface="Arial"/>
              </a:rPr>
              <a:t>KPIs Loja Perfeita</a:t>
            </a:r>
          </a:p>
        </p:txBody>
      </p:sp>
      <p:pic>
        <p:nvPicPr>
          <p:cNvPr id="25" name="Imagem 24">
            <a:extLst>
              <a:ext uri="{FF2B5EF4-FFF2-40B4-BE49-F238E27FC236}">
                <a16:creationId xmlns:a16="http://schemas.microsoft.com/office/drawing/2014/main" id="{B02B2B2E-1702-486A-A264-B46D59266F1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593841" y="5589757"/>
            <a:ext cx="1494232" cy="762711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26" name="Retângulo 25">
            <a:extLst>
              <a:ext uri="{FF2B5EF4-FFF2-40B4-BE49-F238E27FC236}">
                <a16:creationId xmlns:a16="http://schemas.microsoft.com/office/drawing/2014/main" id="{1768EF56-5CF9-4008-AEF1-4650A29E653E}"/>
              </a:ext>
            </a:extLst>
          </p:cNvPr>
          <p:cNvSpPr/>
          <p:nvPr/>
        </p:nvSpPr>
        <p:spPr>
          <a:xfrm>
            <a:off x="6771334" y="6370129"/>
            <a:ext cx="113204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400" dirty="0">
                <a:latin typeface="Arial"/>
              </a:rPr>
              <a:t>SAC (CRM)</a:t>
            </a:r>
          </a:p>
        </p:txBody>
      </p:sp>
    </p:spTree>
    <p:extLst>
      <p:ext uri="{BB962C8B-B14F-4D97-AF65-F5344CB8AC3E}">
        <p14:creationId xmlns:p14="http://schemas.microsoft.com/office/powerpoint/2010/main" val="103578741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7">
            <a:extLst>
              <a:ext uri="{FF2B5EF4-FFF2-40B4-BE49-F238E27FC236}">
                <a16:creationId xmlns:a16="http://schemas.microsoft.com/office/drawing/2014/main" id="{A88E1E25-DC95-44AF-BEB0-153C8B086E28}"/>
              </a:ext>
            </a:extLst>
          </p:cNvPr>
          <p:cNvSpPr txBox="1"/>
          <p:nvPr/>
        </p:nvSpPr>
        <p:spPr>
          <a:xfrm>
            <a:off x="991501" y="0"/>
            <a:ext cx="9662983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3600" dirty="0"/>
              <a:t>INFO TO ACTION NA PRÁTICA </a:t>
            </a: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661F59AC-ABF5-401F-9ED7-D978EBBE897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4300" y="71544"/>
            <a:ext cx="847725" cy="790575"/>
          </a:xfrm>
          <a:prstGeom prst="rect">
            <a:avLst/>
          </a:prstGeom>
        </p:spPr>
      </p:pic>
      <p:pic>
        <p:nvPicPr>
          <p:cNvPr id="4" name="Imagem 3">
            <a:extLst>
              <a:ext uri="{FF2B5EF4-FFF2-40B4-BE49-F238E27FC236}">
                <a16:creationId xmlns:a16="http://schemas.microsoft.com/office/drawing/2014/main" id="{7D9C5E32-9A32-4CDB-8A1A-1D30479F5B4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87119" y="71544"/>
            <a:ext cx="1329131" cy="698646"/>
          </a:xfrm>
          <a:prstGeom prst="rect">
            <a:avLst/>
          </a:prstGeom>
        </p:spPr>
      </p:pic>
      <p:pic>
        <p:nvPicPr>
          <p:cNvPr id="5" name="Imagem 4">
            <a:extLst>
              <a:ext uri="{FF2B5EF4-FFF2-40B4-BE49-F238E27FC236}">
                <a16:creationId xmlns:a16="http://schemas.microsoft.com/office/drawing/2014/main" id="{008FE9DA-3132-4EF4-8BED-9AE2CC67D63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8723" y="1139268"/>
            <a:ext cx="6268348" cy="3581014"/>
          </a:xfrm>
          <a:prstGeom prst="rect">
            <a:avLst/>
          </a:prstGeom>
        </p:spPr>
      </p:pic>
      <p:pic>
        <p:nvPicPr>
          <p:cNvPr id="6" name="Imagem 5">
            <a:extLst>
              <a:ext uri="{FF2B5EF4-FFF2-40B4-BE49-F238E27FC236}">
                <a16:creationId xmlns:a16="http://schemas.microsoft.com/office/drawing/2014/main" id="{E46C0FE6-9FC2-49CC-8C04-A6951E629B1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89838" y="2780470"/>
            <a:ext cx="6128307" cy="36616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3525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7">
            <a:extLst>
              <a:ext uri="{FF2B5EF4-FFF2-40B4-BE49-F238E27FC236}">
                <a16:creationId xmlns:a16="http://schemas.microsoft.com/office/drawing/2014/main" id="{E0F6997B-9E69-41C0-8CBC-99B560D03163}"/>
              </a:ext>
            </a:extLst>
          </p:cNvPr>
          <p:cNvSpPr txBox="1"/>
          <p:nvPr/>
        </p:nvSpPr>
        <p:spPr>
          <a:xfrm>
            <a:off x="991501" y="0"/>
            <a:ext cx="9662983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3600" dirty="0"/>
              <a:t>AÇÕES E REAÇÕES</a:t>
            </a: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942E0FCA-670E-4C7D-8975-15C0A239338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4300" y="71544"/>
            <a:ext cx="847725" cy="790575"/>
          </a:xfrm>
          <a:prstGeom prst="rect">
            <a:avLst/>
          </a:prstGeom>
        </p:spPr>
      </p:pic>
      <p:pic>
        <p:nvPicPr>
          <p:cNvPr id="4" name="Imagem 3">
            <a:extLst>
              <a:ext uri="{FF2B5EF4-FFF2-40B4-BE49-F238E27FC236}">
                <a16:creationId xmlns:a16="http://schemas.microsoft.com/office/drawing/2014/main" id="{45A1CD13-B26F-459D-AB7B-ECCFCC84190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87119" y="71544"/>
            <a:ext cx="1329131" cy="698646"/>
          </a:xfrm>
          <a:prstGeom prst="rect">
            <a:avLst/>
          </a:prstGeom>
        </p:spPr>
      </p:pic>
      <p:pic>
        <p:nvPicPr>
          <p:cNvPr id="5" name="Imagem 4">
            <a:extLst>
              <a:ext uri="{FF2B5EF4-FFF2-40B4-BE49-F238E27FC236}">
                <a16:creationId xmlns:a16="http://schemas.microsoft.com/office/drawing/2014/main" id="{1467027F-70DF-4B9E-BEAC-1D5BB6C2E03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57194" y="3633746"/>
            <a:ext cx="5734806" cy="3224254"/>
          </a:xfrm>
          <a:prstGeom prst="rect">
            <a:avLst/>
          </a:prstGeom>
        </p:spPr>
      </p:pic>
      <p:sp>
        <p:nvSpPr>
          <p:cNvPr id="6" name="CaixaDeTexto 5">
            <a:extLst>
              <a:ext uri="{FF2B5EF4-FFF2-40B4-BE49-F238E27FC236}">
                <a16:creationId xmlns:a16="http://schemas.microsoft.com/office/drawing/2014/main" id="{AE23437F-EA23-4BE9-A446-16F7AF222A42}"/>
              </a:ext>
            </a:extLst>
          </p:cNvPr>
          <p:cNvSpPr txBox="1"/>
          <p:nvPr/>
        </p:nvSpPr>
        <p:spPr>
          <a:xfrm>
            <a:off x="311433" y="834077"/>
            <a:ext cx="9821108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dirty="0"/>
              <a:t>CANAL ONLINE:</a:t>
            </a:r>
          </a:p>
          <a:p>
            <a:endParaRPr lang="pt-BR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000" dirty="0"/>
              <a:t>Alternativa para melhorar distribuição B2C e posicionamento das marcas mais próximo aos consumidores;</a:t>
            </a:r>
          </a:p>
        </p:txBody>
      </p:sp>
      <p:sp>
        <p:nvSpPr>
          <p:cNvPr id="7" name="Retângulo 6">
            <a:extLst>
              <a:ext uri="{FF2B5EF4-FFF2-40B4-BE49-F238E27FC236}">
                <a16:creationId xmlns:a16="http://schemas.microsoft.com/office/drawing/2014/main" id="{E250BC43-4462-4570-82A8-504B8AC5776D}"/>
              </a:ext>
            </a:extLst>
          </p:cNvPr>
          <p:cNvSpPr/>
          <p:nvPr/>
        </p:nvSpPr>
        <p:spPr>
          <a:xfrm>
            <a:off x="311433" y="2266614"/>
            <a:ext cx="11751935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000" dirty="0"/>
              <a:t>Oportunidade exploratória para melhorar indicadores relacionados à CRM e melhor entendimento</a:t>
            </a:r>
          </a:p>
          <a:p>
            <a:r>
              <a:rPr lang="pt-BR" sz="2000" dirty="0"/>
              <a:t>de hábitos e desejos de consumidores;</a:t>
            </a:r>
          </a:p>
        </p:txBody>
      </p:sp>
      <p:sp>
        <p:nvSpPr>
          <p:cNvPr id="8" name="Retângulo 7">
            <a:extLst>
              <a:ext uri="{FF2B5EF4-FFF2-40B4-BE49-F238E27FC236}">
                <a16:creationId xmlns:a16="http://schemas.microsoft.com/office/drawing/2014/main" id="{DBA0064B-2B24-40F1-A5DD-08F8824D027B}"/>
              </a:ext>
            </a:extLst>
          </p:cNvPr>
          <p:cNvSpPr/>
          <p:nvPr/>
        </p:nvSpPr>
        <p:spPr>
          <a:xfrm>
            <a:off x="364978" y="3040113"/>
            <a:ext cx="11751271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000" dirty="0"/>
              <a:t>Possibilidade de vendas unitárias e criação de experiências de degustação para consumidores</a:t>
            </a:r>
          </a:p>
          <a:p>
            <a:r>
              <a:rPr lang="pt-BR" sz="2000" dirty="0"/>
              <a:t>que não conhecem nossas marcas; </a:t>
            </a:r>
          </a:p>
        </p:txBody>
      </p:sp>
      <p:sp>
        <p:nvSpPr>
          <p:cNvPr id="9" name="Retângulo 8">
            <a:extLst>
              <a:ext uri="{FF2B5EF4-FFF2-40B4-BE49-F238E27FC236}">
                <a16:creationId xmlns:a16="http://schemas.microsoft.com/office/drawing/2014/main" id="{515E1F6B-E76E-40C7-A853-4A52F1E8686F}"/>
              </a:ext>
            </a:extLst>
          </p:cNvPr>
          <p:cNvSpPr/>
          <p:nvPr/>
        </p:nvSpPr>
        <p:spPr>
          <a:xfrm>
            <a:off x="369096" y="3872136"/>
            <a:ext cx="586522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000" dirty="0"/>
              <a:t>Baixo custo para viabilização da iniciativa;</a:t>
            </a:r>
          </a:p>
        </p:txBody>
      </p:sp>
      <p:sp>
        <p:nvSpPr>
          <p:cNvPr id="10" name="Retângulo 9">
            <a:extLst>
              <a:ext uri="{FF2B5EF4-FFF2-40B4-BE49-F238E27FC236}">
                <a16:creationId xmlns:a16="http://schemas.microsoft.com/office/drawing/2014/main" id="{43A972B6-E1EC-48A3-9AE4-8663C77E1337}"/>
              </a:ext>
            </a:extLst>
          </p:cNvPr>
          <p:cNvSpPr/>
          <p:nvPr/>
        </p:nvSpPr>
        <p:spPr>
          <a:xfrm>
            <a:off x="373212" y="4419950"/>
            <a:ext cx="5865228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000" dirty="0"/>
              <a:t>Possibilidade de “queima de estoques” com ofertas diferenciadas no canal online;</a:t>
            </a:r>
          </a:p>
        </p:txBody>
      </p:sp>
      <p:sp>
        <p:nvSpPr>
          <p:cNvPr id="11" name="Retângulo 10">
            <a:extLst>
              <a:ext uri="{FF2B5EF4-FFF2-40B4-BE49-F238E27FC236}">
                <a16:creationId xmlns:a16="http://schemas.microsoft.com/office/drawing/2014/main" id="{598DC04D-F0F7-4F0B-B8F6-02A0DD067AE5}"/>
              </a:ext>
            </a:extLst>
          </p:cNvPr>
          <p:cNvSpPr/>
          <p:nvPr/>
        </p:nvSpPr>
        <p:spPr>
          <a:xfrm>
            <a:off x="377329" y="5190191"/>
            <a:ext cx="5865228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pt-BR" sz="2000" dirty="0"/>
              <a:t>Envolvimento das demais áreas para crescimento da relevância das iniciativas relacionadas ao processo de transformação digital da companhia.</a:t>
            </a:r>
          </a:p>
        </p:txBody>
      </p:sp>
    </p:spTree>
    <p:extLst>
      <p:ext uri="{BB962C8B-B14F-4D97-AF65-F5344CB8AC3E}">
        <p14:creationId xmlns:p14="http://schemas.microsoft.com/office/powerpoint/2010/main" val="110089894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7">
            <a:extLst>
              <a:ext uri="{FF2B5EF4-FFF2-40B4-BE49-F238E27FC236}">
                <a16:creationId xmlns:a16="http://schemas.microsoft.com/office/drawing/2014/main" id="{B4AE716A-66B9-4CD7-BDE5-028DC860FDBE}"/>
              </a:ext>
            </a:extLst>
          </p:cNvPr>
          <p:cNvSpPr txBox="1"/>
          <p:nvPr/>
        </p:nvSpPr>
        <p:spPr>
          <a:xfrm>
            <a:off x="622944" y="3152001"/>
            <a:ext cx="9662983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3600" dirty="0"/>
              <a:t>OBRIGADO</a:t>
            </a:r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DDD2DD92-CF08-4488-85DF-97707C127FE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4300" y="71544"/>
            <a:ext cx="847725" cy="790575"/>
          </a:xfrm>
          <a:prstGeom prst="rect">
            <a:avLst/>
          </a:prstGeom>
        </p:spPr>
      </p:pic>
      <p:pic>
        <p:nvPicPr>
          <p:cNvPr id="5" name="Imagem 4">
            <a:extLst>
              <a:ext uri="{FF2B5EF4-FFF2-40B4-BE49-F238E27FC236}">
                <a16:creationId xmlns:a16="http://schemas.microsoft.com/office/drawing/2014/main" id="{82DD465B-D88E-4A35-AC22-C4F1F5ABCCE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87119" y="71544"/>
            <a:ext cx="1329131" cy="6986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17317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ocDv5M790GQebezaQQDtA"/>
</p:tagLst>
</file>

<file path=ppt/theme/theme1.xml><?xml version="1.0" encoding="utf-8"?>
<a:theme xmlns:a="http://schemas.openxmlformats.org/drawingml/2006/main" name="Personalizar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Facetado">
  <a:themeElements>
    <a:clrScheme name="Facetado">
      <a:dk1>
        <a:sysClr val="windowText" lastClr="000000"/>
      </a:dk1>
      <a:lt1>
        <a:sysClr val="window" lastClr="FFFFFF"/>
      </a:lt1>
      <a:dk2>
        <a:srgbClr val="2C3C43"/>
      </a:dk2>
      <a:lt2>
        <a:srgbClr val="EBEBEB"/>
      </a:lt2>
      <a:accent1>
        <a:srgbClr val="90C226"/>
      </a:accent1>
      <a:accent2>
        <a:srgbClr val="54A021"/>
      </a:accent2>
      <a:accent3>
        <a:srgbClr val="E6B91E"/>
      </a:accent3>
      <a:accent4>
        <a:srgbClr val="E76618"/>
      </a:accent4>
      <a:accent5>
        <a:srgbClr val="C42F1A"/>
      </a:accent5>
      <a:accent6>
        <a:srgbClr val="918655"/>
      </a:accent6>
      <a:hlink>
        <a:srgbClr val="99CA3C"/>
      </a:hlink>
      <a:folHlink>
        <a:srgbClr val="B9D181"/>
      </a:folHlink>
    </a:clrScheme>
    <a:fontScheme name="Facetado">
      <a:majorFont>
        <a:latin typeface="Trebuchet MS" panose="020B0603020202020204"/>
        <a:ea typeface=""/>
        <a:cs typeface=""/>
        <a:font script="Jpan" typeface="メイリオ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メイリオ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Facetado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lumMod val="110000"/>
              </a:schemeClr>
            </a:gs>
            <a:gs pos="88000">
              <a:schemeClr val="phClr">
                <a:tint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0000"/>
              </a:schemeClr>
            </a:gs>
            <a:gs pos="78000">
              <a:schemeClr val="phClr">
                <a:shade val="94000"/>
                <a:lumMod val="94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04000"/>
              </a:schemeClr>
            </a:gs>
            <a:gs pos="94000">
              <a:schemeClr val="phClr">
                <a:shade val="96000"/>
                <a:lumMod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4000"/>
                <a:lumMod val="9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acet" id="{C0C680CD-088A-49FC-A102-D699147F32B2}" vid="{CFBC31BA-B70F-4F30-BCAA-4F3011E16C4D}"/>
    </a:ext>
  </a:extLst>
</a:theme>
</file>

<file path=ppt/theme/theme3.xml><?xml version="1.0" encoding="utf-8"?>
<a:theme xmlns:a="http://schemas.openxmlformats.org/drawingml/2006/main" name="1_Personalizar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805</TotalTime>
  <Words>449</Words>
  <Application>Microsoft Office PowerPoint</Application>
  <PresentationFormat>Widescreen</PresentationFormat>
  <Paragraphs>109</Paragraphs>
  <Slides>9</Slides>
  <Notes>0</Notes>
  <HiddenSlides>0</HiddenSlides>
  <MMClips>1</MMClips>
  <ScaleCrop>false</ScaleCrop>
  <HeadingPairs>
    <vt:vector size="6" baseType="variant">
      <vt:variant>
        <vt:lpstr>Fontes usadas</vt:lpstr>
      </vt:variant>
      <vt:variant>
        <vt:i4>8</vt:i4>
      </vt:variant>
      <vt:variant>
        <vt:lpstr>Tema</vt:lpstr>
      </vt:variant>
      <vt:variant>
        <vt:i4>3</vt:i4>
      </vt:variant>
      <vt:variant>
        <vt:lpstr>Títulos de slides</vt:lpstr>
      </vt:variant>
      <vt:variant>
        <vt:i4>9</vt:i4>
      </vt:variant>
    </vt:vector>
  </HeadingPairs>
  <TitlesOfParts>
    <vt:vector size="20" baseType="lpstr">
      <vt:lpstr>Arial</vt:lpstr>
      <vt:lpstr>Calibri</vt:lpstr>
      <vt:lpstr>Calibri Light</vt:lpstr>
      <vt:lpstr>Source Sans Pro</vt:lpstr>
      <vt:lpstr>Titillium</vt:lpstr>
      <vt:lpstr>Trebuchet MS</vt:lpstr>
      <vt:lpstr>Wingdings</vt:lpstr>
      <vt:lpstr>Wingdings 3</vt:lpstr>
      <vt:lpstr>Personalizar design</vt:lpstr>
      <vt:lpstr>Facetado</vt:lpstr>
      <vt:lpstr>1_Personalizar design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aulo Moraes</dc:creator>
  <cp:lastModifiedBy>Paulo Moraes</cp:lastModifiedBy>
  <cp:revision>399</cp:revision>
  <dcterms:modified xsi:type="dcterms:W3CDTF">2020-05-28T23:19:31Z</dcterms:modified>
</cp:coreProperties>
</file>